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4.xml" ContentType="application/inkml+xml"/>
  <Override PartName="/ppt/ink/ink5.xml" ContentType="application/inkml+xml"/>
  <Override PartName="/ppt/ink/ink6.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51" r:id="rId5"/>
  </p:sldMasterIdLst>
  <p:notesMasterIdLst>
    <p:notesMasterId r:id="rId50"/>
  </p:notesMasterIdLst>
  <p:sldIdLst>
    <p:sldId id="2142532567" r:id="rId6"/>
    <p:sldId id="2142532538" r:id="rId7"/>
    <p:sldId id="2142532541" r:id="rId8"/>
    <p:sldId id="2142532542" r:id="rId9"/>
    <p:sldId id="2142532540" r:id="rId10"/>
    <p:sldId id="2142532543" r:id="rId11"/>
    <p:sldId id="2142532544" r:id="rId12"/>
    <p:sldId id="2142532546" r:id="rId13"/>
    <p:sldId id="2142532539" r:id="rId14"/>
    <p:sldId id="2142532547" r:id="rId15"/>
    <p:sldId id="2142532548" r:id="rId16"/>
    <p:sldId id="2142532550" r:id="rId17"/>
    <p:sldId id="2142532564" r:id="rId18"/>
    <p:sldId id="2142532549" r:id="rId19"/>
    <p:sldId id="2142532565" r:id="rId20"/>
    <p:sldId id="2142532551" r:id="rId21"/>
    <p:sldId id="2142532555" r:id="rId22"/>
    <p:sldId id="2142532557" r:id="rId23"/>
    <p:sldId id="2142532561" r:id="rId24"/>
    <p:sldId id="5485" r:id="rId25"/>
    <p:sldId id="2142532552" r:id="rId26"/>
    <p:sldId id="2142532559" r:id="rId27"/>
    <p:sldId id="2142532560" r:id="rId28"/>
    <p:sldId id="2142532556" r:id="rId29"/>
    <p:sldId id="5445" r:id="rId30"/>
    <p:sldId id="583" r:id="rId31"/>
    <p:sldId id="2142532841" r:id="rId32"/>
    <p:sldId id="2142532842" r:id="rId33"/>
    <p:sldId id="2142532843" r:id="rId34"/>
    <p:sldId id="2142532568" r:id="rId35"/>
    <p:sldId id="5502" r:id="rId36"/>
    <p:sldId id="5479" r:id="rId37"/>
    <p:sldId id="2142532838" r:id="rId38"/>
    <p:sldId id="2142532839" r:id="rId39"/>
    <p:sldId id="5453" r:id="rId40"/>
    <p:sldId id="5504" r:id="rId41"/>
    <p:sldId id="5505" r:id="rId42"/>
    <p:sldId id="3523" r:id="rId43"/>
    <p:sldId id="3524" r:id="rId44"/>
    <p:sldId id="3516" r:id="rId45"/>
    <p:sldId id="2142532844" r:id="rId46"/>
    <p:sldId id="2142532058" r:id="rId47"/>
    <p:sldId id="283" r:id="rId48"/>
    <p:sldId id="5443" r:id="rId49"/>
  </p:sldIdLst>
  <p:sldSz cx="12192000" cy="6858000"/>
  <p:notesSz cx="9601200" cy="73152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70"/>
    <p:restoredTop sz="86006" autoAdjust="0"/>
  </p:normalViewPr>
  <p:slideViewPr>
    <p:cSldViewPr snapToGrid="0">
      <p:cViewPr varScale="1">
        <p:scale>
          <a:sx n="41" d="100"/>
          <a:sy n="41" d="100"/>
        </p:scale>
        <p:origin x="69" y="567"/>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11-21T12:08:43.218"/>
    </inkml:context>
    <inkml:brush xml:id="br0">
      <inkml:brushProperty name="width" value="0.05" units="cm"/>
      <inkml:brushProperty name="height" value="0.05" units="cm"/>
    </inkml:brush>
  </inkml:definitions>
  <inkml:trace contextRef="#ctx0" brushRef="#br0">287 126 11519 0 0,'-42'-11'1024'0'0,"-6"-6"-824"0"0,8-6-200 0 0,3 6 0 0 0,8 5 64 0 0,4 4-64 0 0,-1-1 0 0 0,9 1 64 0 0,3-3 16 0 0,6 2 232 0 0,25 20-240 0 0,5-2 0 0 0,4 2 0 0 0,8 3-7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7.461"/>
    </inkml:context>
    <inkml:brush xml:id="br0">
      <inkml:brushProperty name="width" value="0.05" units="cm"/>
      <inkml:brushProperty name="height" value="0.05" units="cm"/>
    </inkml:brush>
  </inkml:definitions>
  <inkml:trace contextRef="#ctx0" brushRef="#br0">11 0 24575,'0'0'0,"0"0"0,0 0 0,-5 34 0,0 11-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11-21T12:08:43.218"/>
    </inkml:context>
    <inkml:brush xml:id="br0">
      <inkml:brushProperty name="width" value="0.05" units="cm"/>
      <inkml:brushProperty name="height" value="0.05" units="cm"/>
    </inkml:brush>
  </inkml:definitions>
  <inkml:trace contextRef="#ctx0" brushRef="#br0">287 126 11519 0 0,'-42'-11'1024'0'0,"-6"-6"-824"0"0,8-6-200 0 0,3 6 0 0 0,8 5 64 0 0,4 4-64 0 0,-1-1 0 0 0,9 1 64 0 0,3-3 16 0 0,6 2 232 0 0,25 20-240 0 0,5-2 0 0 0,4 2 0 0 0,8 3-72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7.461"/>
    </inkml:context>
    <inkml:brush xml:id="br0">
      <inkml:brushProperty name="width" value="0.05" units="cm"/>
      <inkml:brushProperty name="height" value="0.05" units="cm"/>
    </inkml:brush>
  </inkml:definitions>
  <inkml:trace contextRef="#ctx0" brushRef="#br0">11 0 24575,'0'0'0,"0"0"0,0 0 0,-5 34 0,0 1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160520" cy="367030"/>
          </a:xfrm>
          <a:prstGeom prst="rect">
            <a:avLst/>
          </a:prstGeom>
        </p:spPr>
        <p:txBody>
          <a:bodyPr vert="horz" lIns="96651" tIns="48325" rIns="96651" bIns="48325" rtlCol="0"/>
          <a:lstStyle>
            <a:lvl1pPr algn="l">
              <a:defRPr sz="1200"/>
            </a:lvl1pPr>
          </a:lstStyle>
          <a:p>
            <a:endParaRPr lang="en-US"/>
          </a:p>
        </p:txBody>
      </p:sp>
      <p:sp>
        <p:nvSpPr>
          <p:cNvPr id="3" name="Date Placeholder 2"/>
          <p:cNvSpPr>
            <a:spLocks noGrp="1"/>
          </p:cNvSpPr>
          <p:nvPr>
            <p:ph type="dt" idx="1"/>
          </p:nvPr>
        </p:nvSpPr>
        <p:spPr>
          <a:xfrm>
            <a:off x="5438458" y="2"/>
            <a:ext cx="4160520" cy="367030"/>
          </a:xfrm>
          <a:prstGeom prst="rect">
            <a:avLst/>
          </a:prstGeom>
        </p:spPr>
        <p:txBody>
          <a:bodyPr vert="horz" lIns="96651" tIns="48325" rIns="96651" bIns="48325" rtlCol="0"/>
          <a:lstStyle>
            <a:lvl1pPr algn="r">
              <a:defRPr sz="1200"/>
            </a:lvl1pPr>
          </a:lstStyle>
          <a:p>
            <a:fld id="{CB87A944-D542-9144-97BB-8FCEE5EB4AAC}" type="datetimeFigureOut">
              <a:rPr lang="en-US" smtClean="0"/>
              <a:t>12/6/2024</a:t>
            </a:fld>
            <a:endParaRPr lang="en-US"/>
          </a:p>
        </p:txBody>
      </p:sp>
      <p:sp>
        <p:nvSpPr>
          <p:cNvPr id="4" name="Slide Image Placeholder 3"/>
          <p:cNvSpPr>
            <a:spLocks noGrp="1" noRot="1" noChangeAspect="1"/>
          </p:cNvSpPr>
          <p:nvPr>
            <p:ph type="sldImg" idx="2"/>
          </p:nvPr>
        </p:nvSpPr>
        <p:spPr>
          <a:xfrm>
            <a:off x="2606675" y="914400"/>
            <a:ext cx="4387850" cy="2468563"/>
          </a:xfrm>
          <a:prstGeom prst="rect">
            <a:avLst/>
          </a:prstGeom>
          <a:noFill/>
          <a:ln w="12700">
            <a:solidFill>
              <a:prstClr val="black"/>
            </a:solidFill>
          </a:ln>
        </p:spPr>
        <p:txBody>
          <a:bodyPr vert="horz" lIns="96651" tIns="48325" rIns="96651" bIns="48325" rtlCol="0" anchor="ctr"/>
          <a:lstStyle/>
          <a:p>
            <a:endParaRPr lang="en-US"/>
          </a:p>
        </p:txBody>
      </p:sp>
      <p:sp>
        <p:nvSpPr>
          <p:cNvPr id="5" name="Notes Placeholder 4"/>
          <p:cNvSpPr>
            <a:spLocks noGrp="1"/>
          </p:cNvSpPr>
          <p:nvPr>
            <p:ph type="body" sz="quarter" idx="3"/>
          </p:nvPr>
        </p:nvSpPr>
        <p:spPr>
          <a:xfrm>
            <a:off x="960121" y="3520440"/>
            <a:ext cx="7680960" cy="2880360"/>
          </a:xfrm>
          <a:prstGeom prst="rect">
            <a:avLst/>
          </a:prstGeom>
        </p:spPr>
        <p:txBody>
          <a:bodyPr vert="horz" lIns="96651" tIns="48325" rIns="96651" bIns="483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948171"/>
            <a:ext cx="4160520" cy="367029"/>
          </a:xfrm>
          <a:prstGeom prst="rect">
            <a:avLst/>
          </a:prstGeom>
        </p:spPr>
        <p:txBody>
          <a:bodyPr vert="horz" lIns="96651" tIns="48325" rIns="96651" bIns="48325" rtlCol="0" anchor="b"/>
          <a:lstStyle>
            <a:lvl1pPr algn="l">
              <a:defRPr sz="1200"/>
            </a:lvl1pPr>
          </a:lstStyle>
          <a:p>
            <a:endParaRPr lang="en-US"/>
          </a:p>
        </p:txBody>
      </p:sp>
      <p:sp>
        <p:nvSpPr>
          <p:cNvPr id="7" name="Slide Number Placeholder 6"/>
          <p:cNvSpPr>
            <a:spLocks noGrp="1"/>
          </p:cNvSpPr>
          <p:nvPr>
            <p:ph type="sldNum" sz="quarter" idx="5"/>
          </p:nvPr>
        </p:nvSpPr>
        <p:spPr>
          <a:xfrm>
            <a:off x="5438458" y="6948171"/>
            <a:ext cx="4160520" cy="367029"/>
          </a:xfrm>
          <a:prstGeom prst="rect">
            <a:avLst/>
          </a:prstGeom>
        </p:spPr>
        <p:txBody>
          <a:bodyPr vert="horz" lIns="96651" tIns="48325" rIns="96651" bIns="48325" rtlCol="0" anchor="b"/>
          <a:lstStyle>
            <a:lvl1pPr algn="r">
              <a:defRPr sz="1200"/>
            </a:lvl1pPr>
          </a:lstStyle>
          <a:p>
            <a:fld id="{DB9F6DFF-5AE9-314B-9026-1C23AE406CAA}" type="slidenum">
              <a:rPr lang="en-US" smtClean="0"/>
              <a:t>‹#›</a:t>
            </a:fld>
            <a:endParaRPr lang="en-US"/>
          </a:p>
        </p:txBody>
      </p:sp>
    </p:spTree>
    <p:extLst>
      <p:ext uri="{BB962C8B-B14F-4D97-AF65-F5344CB8AC3E}">
        <p14:creationId xmlns:p14="http://schemas.microsoft.com/office/powerpoint/2010/main" val="1484386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6B499-FD01-B442-D203-07BDFE26E9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B4D4A7-A1CF-4CBC-D69B-FF3BDBEA42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512708-9E88-C5B7-48AD-DEA6C42F499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982FAE1-A184-5C01-3BA9-A3AD1431F405}"/>
              </a:ext>
            </a:extLst>
          </p:cNvPr>
          <p:cNvSpPr>
            <a:spLocks noGrp="1"/>
          </p:cNvSpPr>
          <p:nvPr>
            <p:ph type="sldNum" sz="quarter" idx="5"/>
          </p:nvPr>
        </p:nvSpPr>
        <p:spPr/>
        <p:txBody>
          <a:bodyPr/>
          <a:lstStyle/>
          <a:p>
            <a:fld id="{DB9F6DFF-5AE9-314B-9026-1C23AE406CAA}" type="slidenum">
              <a:rPr lang="en-US" smtClean="0"/>
              <a:t>1</a:t>
            </a:fld>
            <a:endParaRPr lang="en-US"/>
          </a:p>
        </p:txBody>
      </p:sp>
    </p:spTree>
    <p:extLst>
      <p:ext uri="{BB962C8B-B14F-4D97-AF65-F5344CB8AC3E}">
        <p14:creationId xmlns:p14="http://schemas.microsoft.com/office/powerpoint/2010/main" val="1604197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11</a:t>
            </a:fld>
            <a:endParaRPr lang="en-US"/>
          </a:p>
        </p:txBody>
      </p:sp>
    </p:spTree>
    <p:extLst>
      <p:ext uri="{BB962C8B-B14F-4D97-AF65-F5344CB8AC3E}">
        <p14:creationId xmlns:p14="http://schemas.microsoft.com/office/powerpoint/2010/main" val="3378550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31</a:t>
            </a:fld>
            <a:endParaRPr lang="en-US"/>
          </a:p>
        </p:txBody>
      </p:sp>
    </p:spTree>
    <p:extLst>
      <p:ext uri="{BB962C8B-B14F-4D97-AF65-F5344CB8AC3E}">
        <p14:creationId xmlns:p14="http://schemas.microsoft.com/office/powerpoint/2010/main" val="2564164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full day or 2 half day training experience</a:t>
            </a:r>
          </a:p>
          <a:p>
            <a:r>
              <a:rPr lang="en-US" dirty="0"/>
              <a:t>Great for individuals who have used Scrum and some or no Kanban at all</a:t>
            </a:r>
          </a:p>
          <a:p>
            <a:r>
              <a:rPr lang="en-US" dirty="0"/>
              <a:t>Excellent for new as well as very skilled Scrum practitioners</a:t>
            </a:r>
          </a:p>
          <a:p>
            <a:r>
              <a:rPr lang="en-US" dirty="0"/>
              <a:t>Individual team members, team leads, Scrum Masters, coaches, and anyone responsible for supporting a team using the Scrum Framework</a:t>
            </a:r>
          </a:p>
          <a:p>
            <a:endParaRPr lang="en-US" dirty="0"/>
          </a:p>
        </p:txBody>
      </p:sp>
      <p:sp>
        <p:nvSpPr>
          <p:cNvPr id="4" name="Slide Number Placeholder 3"/>
          <p:cNvSpPr>
            <a:spLocks noGrp="1"/>
          </p:cNvSpPr>
          <p:nvPr>
            <p:ph type="sldNum" sz="quarter" idx="5"/>
          </p:nvPr>
        </p:nvSpPr>
        <p:spPr/>
        <p:txBody>
          <a:bodyPr/>
          <a:lstStyle/>
          <a:p>
            <a:fld id="{5E7D313A-021E-6145-AD79-ACFADA86F6CE}" type="slidenum">
              <a:rPr lang="en-US" smtClean="0"/>
              <a:t>43</a:t>
            </a:fld>
            <a:endParaRPr lang="en-US"/>
          </a:p>
        </p:txBody>
      </p:sp>
    </p:spTree>
    <p:extLst>
      <p:ext uri="{BB962C8B-B14F-4D97-AF65-F5344CB8AC3E}">
        <p14:creationId xmlns:p14="http://schemas.microsoft.com/office/powerpoint/2010/main" val="3309659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44</a:t>
            </a:fld>
            <a:endParaRPr lang="en-US"/>
          </a:p>
        </p:txBody>
      </p:sp>
    </p:spTree>
    <p:extLst>
      <p:ext uri="{BB962C8B-B14F-4D97-AF65-F5344CB8AC3E}">
        <p14:creationId xmlns:p14="http://schemas.microsoft.com/office/powerpoint/2010/main" val="11696239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F36E-342A-214E-B055-2D126B6159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51D34A-BD89-424E-84EC-B0A440E8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7865E5-47F0-FA4E-9BF3-E188FD62FE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066B730-81F7-294A-8DAF-83740037B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73C01-AE5C-3B4B-832C-AB9F6D0E73FE}"/>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0" name="Footer Placeholder 4">
            <a:extLst>
              <a:ext uri="{FF2B5EF4-FFF2-40B4-BE49-F238E27FC236}">
                <a16:creationId xmlns:a16="http://schemas.microsoft.com/office/drawing/2014/main" id="{04253DB4-5079-A444-B4B1-CDF877D0384E}"/>
              </a:ext>
            </a:extLst>
          </p:cNvPr>
          <p:cNvSpPr txBox="1">
            <a:spLocks/>
          </p:cNvSpPr>
          <p:nvPr userDrawn="1"/>
        </p:nvSpPr>
        <p:spPr>
          <a:xfrm>
            <a:off x="4038600" y="6466078"/>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002349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C262B-A406-184C-9A53-0A2C1906F6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B014DE-FA6C-9849-AC60-2A73DE599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FEDC74-05DA-354B-9479-70FD159CBA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230FC-D525-9C42-B695-D3A9BC046D2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93F73A-CB3D-3B42-B0DE-23A250FCF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B33BB2-99F5-8C4F-A80D-429F00F162A5}"/>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9A0BF509-EF29-6943-A82D-9665C3615DE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0656204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7796-0D0C-E345-A639-1DEF4CA11D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3BD64E-FD05-8A41-8BE2-6045EFE70A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F6BC2-C8D2-8A46-B1FA-6D1801586C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9753DD-343C-8B41-BC67-A85D66C1EB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9B2A-92F7-704F-9CB2-5C02B67BA218}"/>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999B0EF4-53AD-DE44-9780-44B49E31D5F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780922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5567B-5896-FD45-A4E6-AE248E915D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055F7D-3317-2248-8519-6152AEF18A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D9155-D41E-3749-A5EA-8D32BE18556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95E8A-A0C5-704B-A771-B27C5C923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431A5-E4FD-744C-9BEA-F3271E777BE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8B322DFC-4966-5E4E-A71A-C4D5E55EA71E}"/>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6202242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826638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each">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6C18D61-BC25-9240-B523-7B0E472DEA4C}"/>
              </a:ext>
            </a:extLst>
          </p:cNvPr>
          <p:cNvPicPr>
            <a:picLocks noChangeAspect="1"/>
          </p:cNvPicPr>
          <p:nvPr userDrawn="1"/>
        </p:nvPicPr>
        <p:blipFill>
          <a:blip r:embed="rId2"/>
          <a:stretch>
            <a:fillRect/>
          </a:stretch>
        </p:blipFill>
        <p:spPr>
          <a:xfrm>
            <a:off x="0" y="-475374"/>
            <a:ext cx="12192000" cy="6831724"/>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65267CD7-B9B9-5642-A141-6FB208BEBFD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959442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0173CA1-DE15-8149-B251-E5C2C61E8BCD}"/>
              </a:ext>
            </a:extLst>
          </p:cNvPr>
          <p:cNvPicPr>
            <a:picLocks noChangeAspect="1"/>
          </p:cNvPicPr>
          <p:nvPr userDrawn="1"/>
        </p:nvPicPr>
        <p:blipFill>
          <a:blip r:embed="rId2"/>
          <a:stretch>
            <a:fillRect/>
          </a:stretch>
        </p:blipFill>
        <p:spPr>
          <a:xfrm>
            <a:off x="0" y="-470162"/>
            <a:ext cx="12192000" cy="682651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a:xfrm>
            <a:off x="8336280" y="6466077"/>
            <a:ext cx="2138680" cy="365125"/>
          </a:xfrm>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tx1"/>
                </a:solidFill>
              </a:defRPr>
            </a:lvl1pPr>
          </a:lstStyle>
          <a:p>
            <a:pPr lvl="0"/>
            <a:r>
              <a:rPr lang="en-US"/>
              <a:t>Sub title or name</a:t>
            </a:r>
          </a:p>
        </p:txBody>
      </p:sp>
      <p:sp>
        <p:nvSpPr>
          <p:cNvPr id="10" name="Footer Placeholder 4">
            <a:extLst>
              <a:ext uri="{FF2B5EF4-FFF2-40B4-BE49-F238E27FC236}">
                <a16:creationId xmlns:a16="http://schemas.microsoft.com/office/drawing/2014/main" id="{C7A061EA-8833-7A45-A78F-36205C950F3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5979074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8594172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01688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586851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spTree>
    <p:extLst>
      <p:ext uri="{BB962C8B-B14F-4D97-AF65-F5344CB8AC3E}">
        <p14:creationId xmlns:p14="http://schemas.microsoft.com/office/powerpoint/2010/main" val="3575933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4"/>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6306780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117C-E19C-132E-B8F2-E540532FE5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E6C30-2E57-CD7F-40F7-2A338D0D1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13ABAC-B1B0-75B6-B3FE-1587298F0845}"/>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D9F168CD-F6AA-1520-65F4-5615D9D2B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6AFC3D-2413-FFBA-BCD2-AD00C0228F5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5520231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F6714-8F8B-6192-2F70-F158312B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C79B53-89C0-A07B-CFEE-94CD5A943D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CCA96-97DF-0BB8-DF0C-77EC12CC545C}"/>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D07602FC-5255-58F5-B27A-70371EE20A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37F75-7F94-0533-CD68-678C94328220}"/>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107623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E097C-60A7-D251-39FD-00286F7C27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EE76D0-A04D-8CB0-8E4C-1454154C0D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6A8443-A990-9498-97FB-ECA79239CE4C}"/>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91A0805B-3B73-F39E-418C-B0F737F4C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EA7CA-7CE1-66B1-34FE-CA70E45AA9DF}"/>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423376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0EA8-968F-2604-8EF6-1C76F03B5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D6992-F47F-A05D-46AD-227CA4092E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62772-D719-2989-4A0A-9EB7BC7B44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8CFF06-A9BE-90BE-6EFC-BBAB515C0C38}"/>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6" name="Footer Placeholder 5">
            <a:extLst>
              <a:ext uri="{FF2B5EF4-FFF2-40B4-BE49-F238E27FC236}">
                <a16:creationId xmlns:a16="http://schemas.microsoft.com/office/drawing/2014/main" id="{AA93C0D6-065F-FC1A-69B4-706068F284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35FCB-5241-021B-2F87-40672015244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87243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4DF34-9957-9660-4E43-900E78E973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04436-39F1-324A-C7E4-0EB4DDC06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304B16-5099-3C58-7495-5FF73F0ED2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C4B9EB-35D4-EDE9-AECE-A14120D58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BCE352-14FA-9734-78E8-0867A4A048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EAA420-1A3E-E658-8027-696ABDF3FEED}"/>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8" name="Footer Placeholder 7">
            <a:extLst>
              <a:ext uri="{FF2B5EF4-FFF2-40B4-BE49-F238E27FC236}">
                <a16:creationId xmlns:a16="http://schemas.microsoft.com/office/drawing/2014/main" id="{28FC6429-3708-093B-7F1C-A3C639207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6ABAA8-2A3A-2E71-B643-9448553867E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842892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3137-6225-7512-632C-8B9936E5FF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FD22D9-98DE-6F24-63C6-BA9F4F1B6411}"/>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4" name="Footer Placeholder 3">
            <a:extLst>
              <a:ext uri="{FF2B5EF4-FFF2-40B4-BE49-F238E27FC236}">
                <a16:creationId xmlns:a16="http://schemas.microsoft.com/office/drawing/2014/main" id="{970DB02F-67FC-3D1B-D26A-A89E18A36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C8AFD-0EE0-9DFA-537D-EE1F1BC2664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8624749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E7BDE1-E049-5BB6-27A9-3AF9B4CB9AE2}"/>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3" name="Footer Placeholder 2">
            <a:extLst>
              <a:ext uri="{FF2B5EF4-FFF2-40B4-BE49-F238E27FC236}">
                <a16:creationId xmlns:a16="http://schemas.microsoft.com/office/drawing/2014/main" id="{F352EFF8-8218-ECEA-B37A-FBE9CC625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F0A034-F856-0FAB-D2E8-316C30D7C5B7}"/>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530407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60C4-8BFE-DF3A-4866-52858E227F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2DE524-5E64-C0C8-C53C-4B6008283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90AD1B-2847-BB8B-E878-970FD2E2DB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BBF14E-8224-44DE-67FA-FFF6946F9E76}"/>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6" name="Footer Placeholder 5">
            <a:extLst>
              <a:ext uri="{FF2B5EF4-FFF2-40B4-BE49-F238E27FC236}">
                <a16:creationId xmlns:a16="http://schemas.microsoft.com/office/drawing/2014/main" id="{3009E5DE-C8C9-CBA4-D11E-F475B4096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18205B-059D-37AB-97C7-D59CAC77E8B8}"/>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898006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3C393-8A9D-70C2-ED71-79F73AFC1C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63FC36-D3E5-15E5-D521-F5FA7F08C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87B417-4E30-C47C-CC2C-7B4B4BC79F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977BE-6A55-51B5-B3CF-405FA839C874}"/>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6" name="Footer Placeholder 5">
            <a:extLst>
              <a:ext uri="{FF2B5EF4-FFF2-40B4-BE49-F238E27FC236}">
                <a16:creationId xmlns:a16="http://schemas.microsoft.com/office/drawing/2014/main" id="{7861F0F2-DE3A-7285-4210-C4C42EA86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8661C-B98B-30EA-535B-EDC6E570D65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5924249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468B6-7AD8-6C4D-6C25-A8A8DF596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812850-86C6-ED09-5F13-8DBE410B4D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D2404-C586-4DE7-31AF-940FEC23C077}"/>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30D5E92D-EF8B-A696-F617-DFC7B6B49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79F48-F92D-1446-5CB2-3880D7876FF6}"/>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968693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0884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2FC97E-52A4-2E21-AF25-269474BE5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79E867-8EAD-F8DD-B01A-101A3AFAB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A811F-1D84-683B-A43A-9E1652F5242E}"/>
              </a:ext>
            </a:extLst>
          </p:cNvPr>
          <p:cNvSpPr>
            <a:spLocks noGrp="1"/>
          </p:cNvSpPr>
          <p:nvPr>
            <p:ph type="dt" sz="half" idx="10"/>
          </p:nvPr>
        </p:nvSpPr>
        <p:spPr/>
        <p:txBody>
          <a:body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0FC22506-CCB3-6529-1093-ACB3C0B84C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DE53-37C5-B474-7AA7-021A986BD0A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7077646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37163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359079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5260357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spTree>
    <p:extLst>
      <p:ext uri="{BB962C8B-B14F-4D97-AF65-F5344CB8AC3E}">
        <p14:creationId xmlns:p14="http://schemas.microsoft.com/office/powerpoint/2010/main" val="2477185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Date Placeholder 3">
            <a:extLst>
              <a:ext uri="{FF2B5EF4-FFF2-40B4-BE49-F238E27FC236}">
                <a16:creationId xmlns:a16="http://schemas.microsoft.com/office/drawing/2014/main" id="{449C2433-CC3B-2A41-840D-06EAD7644E4C}"/>
              </a:ext>
            </a:extLst>
          </p:cNvPr>
          <p:cNvSpPr txBox="1">
            <a:spLocks/>
          </p:cNvSpPr>
          <p:nvPr userDrawn="1"/>
        </p:nvSpPr>
        <p:spPr>
          <a:xfrm>
            <a:off x="826482" y="644779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oddlittle @spoonstein</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712519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3464-9C65-A847-B7EB-D7B33D6B6B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36425-ECEC-7B41-A088-39BD1345FD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FDA3A-883E-8442-B0E8-6075B573C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CB5F67-CDA6-DA4A-B897-919247A56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F16B8-0B5B-B549-BCC8-FBCA71FD613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E9BE313-1E26-D446-801C-8BDCF3D592A3}"/>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247079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7CA79-50C1-BB4C-BFE2-36CF8B697A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0DA6E9-ECF0-DE4B-8931-C98600B223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D628FA-CDF0-F143-BCA7-345CEA04DF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A8A217-2327-BA4C-A58E-884F9A7F74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3D5E46C-3C47-944A-81D2-F5132BE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4A1D06-1DE6-1347-A3F2-32BBE6A224CD}"/>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481025EE-8D87-4945-B75B-EB73F0D2FCAC}"/>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309020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9FA36-9AB5-124C-926B-D52D7023F9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4436CD1-D62B-EE42-B033-67FA740EB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DFD72D-83EE-9A4A-9242-7E7B90C634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16DE75-CDC4-754D-AC99-3D58E8E25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1608D9-5152-7F48-9616-72F42DD0EA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F0B6E3-D6DD-3244-903F-CF2151D130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DDAB71F-3CCE-4E40-A110-219D6FB27C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A99608-9441-8A4F-AA78-F944B1B0931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1" name="Footer Placeholder 4">
            <a:extLst>
              <a:ext uri="{FF2B5EF4-FFF2-40B4-BE49-F238E27FC236}">
                <a16:creationId xmlns:a16="http://schemas.microsoft.com/office/drawing/2014/main" id="{2925F231-FC4D-644F-B7C4-E711AD54045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199941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8E41D3-C44C-B94C-91DB-A680DFEC21E7}"/>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16913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B9E2DD-412E-FD43-A794-CA2CB11C612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515AEF4-1956-2642-BE68-B0CF547A87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56AB38-3721-CF4E-9BBF-DC9187F11299}"/>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6" name="Footer Placeholder 4">
            <a:extLst>
              <a:ext uri="{FF2B5EF4-FFF2-40B4-BE49-F238E27FC236}">
                <a16:creationId xmlns:a16="http://schemas.microsoft.com/office/drawing/2014/main" id="{CA337EBA-972C-4B48-89B3-3DE201C4224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535347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BA54-EF35-C14B-9FB5-BD9D4400B2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7C4FC5-367E-504D-837F-99F5CD0737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9BB1C-9B23-B340-82D6-A94BFC5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8A35D-9432-974C-BA99-DFAB0EA165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191A50-156F-9349-BF7C-54169635F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3E0F1-B5B9-2B4B-AFFA-849D1C71C5B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B93E0B22-1E7C-984F-8488-F5BAD79FB33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008986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extLst>
              <a:ext uri="{96DAC541-7B7A-43D3-8B79-37D633B846F1}">
                <asvg:svgBlip xmlns:asvg="http://schemas.microsoft.com/office/drawing/2016/SVG/main" r:embed="rId22"/>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CDB09-1829-2D40-BEB0-C5441C39EE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7C268F-AC7E-EC4D-81F0-B2EACEC19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E6FFD-9AAF-6B4E-8C45-B125A81D4B00}"/>
              </a:ext>
            </a:extLst>
          </p:cNvPr>
          <p:cNvSpPr>
            <a:spLocks noGrp="1"/>
          </p:cNvSpPr>
          <p:nvPr>
            <p:ph type="dt" sz="half" idx="2"/>
          </p:nvPr>
        </p:nvSpPr>
        <p:spPr>
          <a:xfrm>
            <a:off x="838200" y="6466078"/>
            <a:ext cx="2743200" cy="365125"/>
          </a:xfrm>
          <a:prstGeom prst="rect">
            <a:avLst/>
          </a:prstGeom>
          <a:solidFill>
            <a:schemeClr val="bg1"/>
          </a:solidFill>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D168D922-7DA7-A446-A5E3-BEDA8C197F02}"/>
              </a:ext>
            </a:extLst>
          </p:cNvPr>
          <p:cNvSpPr>
            <a:spLocks noGrp="1"/>
          </p:cNvSpPr>
          <p:nvPr>
            <p:ph type="ftr" sz="quarter" idx="3"/>
          </p:nvPr>
        </p:nvSpPr>
        <p:spPr>
          <a:xfrm>
            <a:off x="4038600" y="6466078"/>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48A0D6-41C3-BA48-BE75-D83A778E4B95}"/>
              </a:ext>
            </a:extLst>
          </p:cNvPr>
          <p:cNvSpPr>
            <a:spLocks noGrp="1"/>
          </p:cNvSpPr>
          <p:nvPr>
            <p:ph type="sldNum" sz="quarter" idx="4"/>
          </p:nvPr>
        </p:nvSpPr>
        <p:spPr>
          <a:xfrm>
            <a:off x="8336280" y="6466077"/>
            <a:ext cx="17221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92DDAE-9823-6946-874E-259A5CB9452D}" type="slidenum">
              <a:rPr lang="en-US" smtClean="0"/>
              <a:t>‹#›</a:t>
            </a:fld>
            <a:endParaRPr lang="en-US"/>
          </a:p>
        </p:txBody>
      </p:sp>
    </p:spTree>
    <p:extLst>
      <p:ext uri="{BB962C8B-B14F-4D97-AF65-F5344CB8AC3E}">
        <p14:creationId xmlns:p14="http://schemas.microsoft.com/office/powerpoint/2010/main" val="1828019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1" r:id="rId13"/>
    <p:sldLayoutId id="2147483663" r:id="rId14"/>
    <p:sldLayoutId id="2147483664" r:id="rId15"/>
    <p:sldLayoutId id="2147483662" r:id="rId16"/>
    <p:sldLayoutId id="2147483748" r:id="rId17"/>
    <p:sldLayoutId id="2147483749" r:id="rId18"/>
    <p:sldLayoutId id="2147483768"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2A2112-00F1-FBA4-730E-458881D6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4659-7F76-5970-B211-3619BF093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02A13C-BFBF-CA92-7AB2-07463CB155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BD2C4A-AEC8-4156-958F-27BF4B981959}" type="datetimeFigureOut">
              <a:rPr lang="en-US" smtClean="0"/>
              <a:t>12/6/2024</a:t>
            </a:fld>
            <a:endParaRPr lang="en-US"/>
          </a:p>
        </p:txBody>
      </p:sp>
      <p:sp>
        <p:nvSpPr>
          <p:cNvPr id="5" name="Footer Placeholder 4">
            <a:extLst>
              <a:ext uri="{FF2B5EF4-FFF2-40B4-BE49-F238E27FC236}">
                <a16:creationId xmlns:a16="http://schemas.microsoft.com/office/drawing/2014/main" id="{8C253EF2-4F30-5FD2-D87E-3F65E7887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402227-152C-2744-44A1-DA40568D8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BAFD3-F5AF-491C-AA54-BCA8270AC90D}" type="slidenum">
              <a:rPr lang="en-US" smtClean="0"/>
              <a:t>‹#›</a:t>
            </a:fld>
            <a:endParaRPr lang="en-US"/>
          </a:p>
        </p:txBody>
      </p:sp>
    </p:spTree>
    <p:extLst>
      <p:ext uri="{BB962C8B-B14F-4D97-AF65-F5344CB8AC3E}">
        <p14:creationId xmlns:p14="http://schemas.microsoft.com/office/powerpoint/2010/main" val="3152414944"/>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customXml" Target="../ink/ink2.xml"/><Relationship Id="rId5" Type="http://schemas.openxmlformats.org/officeDocument/2006/relationships/image" Target="../media/image10.png"/><Relationship Id="rId10" Type="http://schemas.openxmlformats.org/officeDocument/2006/relationships/image" Target="../media/image9.jpeg"/><Relationship Id="rId4" Type="http://schemas.openxmlformats.org/officeDocument/2006/relationships/customXml" Target="../ink/ink1.xml"/><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g"/><Relationship Id="rId1" Type="http://schemas.openxmlformats.org/officeDocument/2006/relationships/slideLayout" Target="../slideLayouts/slideLayout7.xml"/><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0.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3.png"/><Relationship Id="rId4" Type="http://schemas.openxmlformats.org/officeDocument/2006/relationships/image" Target="../media/image8.png"/></Relationships>
</file>

<file path=ppt/slides/_rels/slide44.xml.rels><?xml version="1.0" encoding="UTF-8" standalone="yes"?>
<Relationships xmlns="http://schemas.openxmlformats.org/package/2006/relationships"><Relationship Id="rId8" Type="http://schemas.openxmlformats.org/officeDocument/2006/relationships/customXml" Target="../ink/ink6.xml"/><Relationship Id="rId3" Type="http://schemas.openxmlformats.org/officeDocument/2006/relationships/image" Target="../media/image8.png"/><Relationship Id="rId7" Type="http://schemas.openxmlformats.org/officeDocument/2006/relationships/image" Target="../media/image90.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customXml" Target="../ink/ink5.xml"/><Relationship Id="rId5" Type="http://schemas.openxmlformats.org/officeDocument/2006/relationships/image" Target="../media/image80.png"/><Relationship Id="rId10" Type="http://schemas.openxmlformats.org/officeDocument/2006/relationships/image" Target="../media/image54.jpeg"/><Relationship Id="rId4" Type="http://schemas.openxmlformats.org/officeDocument/2006/relationships/customXml" Target="../ink/ink4.xml"/><Relationship Id="rId9" Type="http://schemas.openxmlformats.org/officeDocument/2006/relationships/image" Target="../media/image100.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jp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A29B5-65A4-E59C-5B56-C3E0F9C2F79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CC74A14-985E-E2B4-A4D1-49B65FC8DC8F}"/>
              </a:ext>
            </a:extLst>
          </p:cNvPr>
          <p:cNvSpPr>
            <a:spLocks noGrp="1"/>
          </p:cNvSpPr>
          <p:nvPr>
            <p:ph type="title"/>
          </p:nvPr>
        </p:nvSpPr>
        <p:spPr/>
        <p:txBody>
          <a:bodyPr/>
          <a:lstStyle/>
          <a:p>
            <a:pPr algn="r"/>
            <a:r>
              <a:rPr lang="en-US" dirty="0"/>
              <a:t>Is Agile Dead Yet?</a:t>
            </a:r>
          </a:p>
        </p:txBody>
      </p:sp>
      <p:sp>
        <p:nvSpPr>
          <p:cNvPr id="5" name="TextBox 4">
            <a:extLst>
              <a:ext uri="{FF2B5EF4-FFF2-40B4-BE49-F238E27FC236}">
                <a16:creationId xmlns:a16="http://schemas.microsoft.com/office/drawing/2014/main" id="{C127CD1E-8C5B-6454-AB87-EFE8079D66E0}"/>
              </a:ext>
            </a:extLst>
          </p:cNvPr>
          <p:cNvSpPr txBox="1"/>
          <p:nvPr/>
        </p:nvSpPr>
        <p:spPr>
          <a:xfrm>
            <a:off x="3337323" y="1229023"/>
            <a:ext cx="8016477" cy="461665"/>
          </a:xfrm>
          <a:prstGeom prst="rect">
            <a:avLst/>
          </a:prstGeom>
          <a:noFill/>
        </p:spPr>
        <p:txBody>
          <a:bodyPr wrap="square">
            <a:spAutoFit/>
          </a:bodyPr>
          <a:lstStyle/>
          <a:p>
            <a:pPr algn="r"/>
            <a:r>
              <a:rPr lang="en-US" sz="2400" dirty="0">
                <a:solidFill>
                  <a:schemeClr val="bg1"/>
                </a:solidFill>
              </a:rPr>
              <a:t>Does Kanban Care?</a:t>
            </a:r>
            <a:endParaRPr lang="en-US" sz="2400" dirty="0"/>
          </a:p>
        </p:txBody>
      </p:sp>
      <p:pic>
        <p:nvPicPr>
          <p:cNvPr id="7" name="Picture 6" descr="A close up of a logo&#10;&#10;Description automatically generated">
            <a:extLst>
              <a:ext uri="{FF2B5EF4-FFF2-40B4-BE49-F238E27FC236}">
                <a16:creationId xmlns:a16="http://schemas.microsoft.com/office/drawing/2014/main" id="{1B8420BA-AAA9-4776-B068-CD2920D2E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EE0D819C-8AFF-0218-FDB6-A4EF70D83667}"/>
              </a:ext>
            </a:extLst>
          </p:cNvPr>
          <p:cNvSpPr txBox="1">
            <a:spLocks/>
          </p:cNvSpPr>
          <p:nvPr/>
        </p:nvSpPr>
        <p:spPr>
          <a:xfrm>
            <a:off x="5751818" y="4638104"/>
            <a:ext cx="5601984" cy="1511300"/>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r>
              <a:rPr lang="en-US" b="1" dirty="0">
                <a:solidFill>
                  <a:schemeClr val="bg1"/>
                </a:solidFill>
              </a:rPr>
              <a:t>Todd Little</a:t>
            </a:r>
          </a:p>
          <a:p>
            <a:r>
              <a:rPr lang="en-US" sz="2000" dirty="0">
                <a:solidFill>
                  <a:schemeClr val="bg1"/>
                </a:solidFill>
              </a:rPr>
              <a:t>Chairman</a:t>
            </a:r>
          </a:p>
          <a:p>
            <a:r>
              <a:rPr lang="en-US" sz="2000" dirty="0">
                <a:solidFill>
                  <a:schemeClr val="bg1"/>
                </a:solidFill>
              </a:rPr>
              <a:t>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34352DAD-43EB-36D3-C047-F398264FED0C}"/>
                  </a:ext>
                </a:extLst>
              </p14:cNvPr>
              <p14:cNvContentPartPr/>
              <p14:nvPr/>
            </p14:nvContentPartPr>
            <p14:xfrm flipH="1">
              <a:off x="6472869" y="1474623"/>
              <a:ext cx="103907" cy="45719"/>
            </p14:xfrm>
          </p:contentPart>
        </mc:Choice>
        <mc:Fallback xmlns="">
          <p:pic>
            <p:nvPicPr>
              <p:cNvPr id="2" name="Ink 1">
                <a:extLst>
                  <a:ext uri="{FF2B5EF4-FFF2-40B4-BE49-F238E27FC236}">
                    <a16:creationId xmlns:a16="http://schemas.microsoft.com/office/drawing/2014/main" id="{34352DAD-43EB-36D3-C047-F398264FED0C}"/>
                  </a:ext>
                </a:extLst>
              </p:cNvPr>
              <p:cNvPicPr/>
              <p:nvPr/>
            </p:nvPicPr>
            <p:blipFill>
              <a:blip r:embed="rId5"/>
              <a:stretch>
                <a:fillRect/>
              </a:stretch>
            </p:blipFill>
            <p:spPr>
              <a:xfrm flipH="1">
                <a:off x="6463818" y="1465552"/>
                <a:ext cx="121647" cy="6349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C5BC4D96-0373-8B9C-3406-7FC0E832E89E}"/>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5BC4D96-0373-8B9C-3406-7FC0E832E89E}"/>
                  </a:ext>
                </a:extLst>
              </p:cNvPr>
              <p:cNvPicPr/>
              <p:nvPr/>
            </p:nvPicPr>
            <p:blipFill>
              <a:blip r:embed="rId7"/>
              <a:stretch>
                <a:fillRect/>
              </a:stretch>
            </p:blipFill>
            <p:spPr>
              <a:xfrm>
                <a:off x="8547776" y="204054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122CD8DC-B0DA-7CCC-612A-AF86927B40E0}"/>
                  </a:ext>
                </a:extLst>
              </p14:cNvPr>
              <p14:cNvContentPartPr/>
              <p14:nvPr/>
            </p14:nvContentPartPr>
            <p14:xfrm>
              <a:off x="6705656" y="1594504"/>
              <a:ext cx="3960" cy="28800"/>
            </p14:xfrm>
          </p:contentPart>
        </mc:Choice>
        <mc:Fallback xmlns="">
          <p:pic>
            <p:nvPicPr>
              <p:cNvPr id="6" name="Ink 5">
                <a:extLst>
                  <a:ext uri="{FF2B5EF4-FFF2-40B4-BE49-F238E27FC236}">
                    <a16:creationId xmlns:a16="http://schemas.microsoft.com/office/drawing/2014/main" id="{122CD8DC-B0DA-7CCC-612A-AF86927B40E0}"/>
                  </a:ext>
                </a:extLst>
              </p:cNvPr>
              <p:cNvPicPr/>
              <p:nvPr/>
            </p:nvPicPr>
            <p:blipFill>
              <a:blip r:embed="rId9"/>
              <a:stretch>
                <a:fillRect/>
              </a:stretch>
            </p:blipFill>
            <p:spPr>
              <a:xfrm>
                <a:off x="6696656" y="1585504"/>
                <a:ext cx="21600" cy="46440"/>
              </a:xfrm>
              <a:prstGeom prst="rect">
                <a:avLst/>
              </a:prstGeom>
            </p:spPr>
          </p:pic>
        </mc:Fallback>
      </mc:AlternateContent>
      <p:pic>
        <p:nvPicPr>
          <p:cNvPr id="9" name="Picture 8">
            <a:extLst>
              <a:ext uri="{FF2B5EF4-FFF2-40B4-BE49-F238E27FC236}">
                <a16:creationId xmlns:a16="http://schemas.microsoft.com/office/drawing/2014/main" id="{7F600549-16EE-2DE4-4DFA-A16951EEB76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45327" y="1757083"/>
            <a:ext cx="4062897" cy="4392321"/>
          </a:xfrm>
          <a:prstGeom prst="rect">
            <a:avLst/>
          </a:prstGeom>
        </p:spPr>
      </p:pic>
    </p:spTree>
    <p:extLst>
      <p:ext uri="{BB962C8B-B14F-4D97-AF65-F5344CB8AC3E}">
        <p14:creationId xmlns:p14="http://schemas.microsoft.com/office/powerpoint/2010/main" val="33665047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226165-8F2C-253D-4A86-9464D47FDB76}"/>
              </a:ext>
            </a:extLst>
          </p:cNvPr>
          <p:cNvSpPr>
            <a:spLocks noGrp="1"/>
          </p:cNvSpPr>
          <p:nvPr>
            <p:ph type="body" sz="quarter" idx="13"/>
          </p:nvPr>
        </p:nvSpPr>
        <p:spPr/>
        <p:txBody>
          <a:bodyPr>
            <a:normAutofit fontScale="92500" lnSpcReduction="10000"/>
          </a:bodyPr>
          <a:lstStyle/>
          <a:p>
            <a:r>
              <a:rPr lang="en-US" dirty="0"/>
              <a:t>All these PMs do at my workplace is put tons of meetings on other people's calendars.</a:t>
            </a:r>
          </a:p>
        </p:txBody>
      </p:sp>
      <p:sp>
        <p:nvSpPr>
          <p:cNvPr id="3" name="Text Placeholder 2">
            <a:extLst>
              <a:ext uri="{FF2B5EF4-FFF2-40B4-BE49-F238E27FC236}">
                <a16:creationId xmlns:a16="http://schemas.microsoft.com/office/drawing/2014/main" id="{A37DAB32-F542-659E-44CC-D12CE2ECA14A}"/>
              </a:ext>
            </a:extLst>
          </p:cNvPr>
          <p:cNvSpPr>
            <a:spLocks noGrp="1"/>
          </p:cNvSpPr>
          <p:nvPr>
            <p:ph type="body" sz="quarter" idx="14"/>
          </p:nvPr>
        </p:nvSpPr>
        <p:spPr/>
        <p:txBody>
          <a:bodyPr/>
          <a:lstStyle/>
          <a:p>
            <a:r>
              <a:rPr lang="en-US" dirty="0"/>
              <a:t>Reddit</a:t>
            </a:r>
          </a:p>
        </p:txBody>
      </p:sp>
      <p:sp>
        <p:nvSpPr>
          <p:cNvPr id="4" name="Slide Number Placeholder 3">
            <a:extLst>
              <a:ext uri="{FF2B5EF4-FFF2-40B4-BE49-F238E27FC236}">
                <a16:creationId xmlns:a16="http://schemas.microsoft.com/office/drawing/2014/main" id="{D67C8D40-8F98-D643-1DB8-5F9FB7BF04DE}"/>
              </a:ext>
            </a:extLst>
          </p:cNvPr>
          <p:cNvSpPr>
            <a:spLocks noGrp="1"/>
          </p:cNvSpPr>
          <p:nvPr>
            <p:ph type="sldNum" sz="quarter" idx="16"/>
          </p:nvPr>
        </p:nvSpPr>
        <p:spPr/>
        <p:txBody>
          <a:bodyPr/>
          <a:lstStyle/>
          <a:p>
            <a:fld id="{C35D1307-4518-DC49-A96C-7B35E51C61C4}" type="slidenum">
              <a:rPr lang="en-US" noProof="0" smtClean="0"/>
              <a:pPr/>
              <a:t>10</a:t>
            </a:fld>
            <a:endParaRPr lang="en-US" noProof="0"/>
          </a:p>
        </p:txBody>
      </p:sp>
    </p:spTree>
    <p:extLst>
      <p:ext uri="{BB962C8B-B14F-4D97-AF65-F5344CB8AC3E}">
        <p14:creationId xmlns:p14="http://schemas.microsoft.com/office/powerpoint/2010/main" val="2985679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C546C2-62C4-277C-6309-343C7AE3C6D8}"/>
              </a:ext>
            </a:extLst>
          </p:cNvPr>
          <p:cNvSpPr>
            <a:spLocks noGrp="1"/>
          </p:cNvSpPr>
          <p:nvPr>
            <p:ph type="title"/>
          </p:nvPr>
        </p:nvSpPr>
        <p:spPr>
          <a:xfrm>
            <a:off x="4807973" y="2444647"/>
            <a:ext cx="6649065" cy="1325563"/>
          </a:xfrm>
        </p:spPr>
        <p:txBody>
          <a:bodyPr/>
          <a:lstStyle/>
          <a:p>
            <a:r>
              <a:rPr lang="en-US" dirty="0"/>
              <a:t>Why is Agile Struggling?</a:t>
            </a:r>
          </a:p>
        </p:txBody>
      </p:sp>
      <p:sp>
        <p:nvSpPr>
          <p:cNvPr id="4" name="Slide Number Placeholder 3">
            <a:extLst>
              <a:ext uri="{FF2B5EF4-FFF2-40B4-BE49-F238E27FC236}">
                <a16:creationId xmlns:a16="http://schemas.microsoft.com/office/drawing/2014/main" id="{63AFCC82-4ED6-1AF4-140F-873E51571CD0}"/>
              </a:ext>
            </a:extLst>
          </p:cNvPr>
          <p:cNvSpPr>
            <a:spLocks noGrp="1"/>
          </p:cNvSpPr>
          <p:nvPr>
            <p:ph type="sldNum" sz="quarter" idx="4294967295"/>
          </p:nvPr>
        </p:nvSpPr>
        <p:spPr>
          <a:xfrm>
            <a:off x="10469563" y="6465888"/>
            <a:ext cx="1722437" cy="365125"/>
          </a:xfrm>
        </p:spPr>
        <p:txBody>
          <a:bodyPr/>
          <a:lstStyle/>
          <a:p>
            <a:fld id="{C35D1307-4518-DC49-A96C-7B35E51C61C4}" type="slidenum">
              <a:rPr lang="en-US" noProof="0" smtClean="0"/>
              <a:pPr/>
              <a:t>11</a:t>
            </a:fld>
            <a:endParaRPr lang="en-US" noProof="0"/>
          </a:p>
        </p:txBody>
      </p:sp>
    </p:spTree>
    <p:extLst>
      <p:ext uri="{BB962C8B-B14F-4D97-AF65-F5344CB8AC3E}">
        <p14:creationId xmlns:p14="http://schemas.microsoft.com/office/powerpoint/2010/main" val="2946188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9"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FE7E35-888E-01CA-7439-70399F379CD9}"/>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This is agile, right?</a:t>
            </a:r>
          </a:p>
        </p:txBody>
      </p:sp>
      <p:pic>
        <p:nvPicPr>
          <p:cNvPr id="3074" name="Picture 2" descr="Manifesto for Agile Software Development">
            <a:extLst>
              <a:ext uri="{FF2B5EF4-FFF2-40B4-BE49-F238E27FC236}">
                <a16:creationId xmlns:a16="http://schemas.microsoft.com/office/drawing/2014/main" id="{9FDBF8E0-6B6A-8D16-6E16-39130E1794E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777316" y="655697"/>
            <a:ext cx="6780700" cy="554427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B67A3821-347B-5CDF-49D1-C1F80A0A4735}"/>
              </a:ext>
            </a:extLst>
          </p:cNvPr>
          <p:cNvSpPr>
            <a:spLocks noGrp="1"/>
          </p:cNvSpPr>
          <p:nvPr>
            <p:ph type="sldNum" sz="quarter" idx="12"/>
          </p:nvPr>
        </p:nvSpPr>
        <p:spPr>
          <a:xfrm>
            <a:off x="11034184" y="6356350"/>
            <a:ext cx="514349" cy="365125"/>
          </a:xfrm>
        </p:spPr>
        <p:txBody>
          <a:bodyPr vert="horz" lIns="91440" tIns="45720" rIns="91440" bIns="45720" rtlCol="0" anchor="ctr">
            <a:normAutofit/>
          </a:bodyPr>
          <a:lstStyle/>
          <a:p>
            <a:pPr>
              <a:spcAft>
                <a:spcPts val="600"/>
              </a:spcAft>
            </a:pPr>
            <a:fld id="{2392DDAE-9823-6946-874E-259A5CB9452D}" type="slidenum">
              <a:rPr lang="en-US">
                <a:solidFill>
                  <a:schemeClr val="tx1">
                    <a:alpha val="80000"/>
                  </a:schemeClr>
                </a:solidFill>
              </a:rPr>
              <a:pPr>
                <a:spcAft>
                  <a:spcPts val="600"/>
                </a:spcAft>
              </a:pPr>
              <a:t>12</a:t>
            </a:fld>
            <a:endParaRPr lang="en-US">
              <a:solidFill>
                <a:schemeClr val="tx1">
                  <a:alpha val="80000"/>
                </a:schemeClr>
              </a:solidFill>
            </a:endParaRPr>
          </a:p>
        </p:txBody>
      </p:sp>
    </p:spTree>
    <p:extLst>
      <p:ext uri="{BB962C8B-B14F-4D97-AF65-F5344CB8AC3E}">
        <p14:creationId xmlns:p14="http://schemas.microsoft.com/office/powerpoint/2010/main" val="15221685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1EE791-1BAB-96C9-3D91-4E03B9B8E6F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32FAED-FE75-24A4-73C4-16068CF319B3}"/>
              </a:ext>
            </a:extLst>
          </p:cNvPr>
          <p:cNvSpPr>
            <a:spLocks noGrp="1"/>
          </p:cNvSpPr>
          <p:nvPr>
            <p:ph type="body" sz="quarter" idx="13"/>
          </p:nvPr>
        </p:nvSpPr>
        <p:spPr/>
        <p:txBody>
          <a:bodyPr/>
          <a:lstStyle/>
          <a:p>
            <a:r>
              <a:rPr lang="en-US" dirty="0"/>
              <a:t>agile: marked by ready ability to move with quick easy grace</a:t>
            </a:r>
          </a:p>
        </p:txBody>
      </p:sp>
      <p:sp>
        <p:nvSpPr>
          <p:cNvPr id="3" name="Text Placeholder 2">
            <a:extLst>
              <a:ext uri="{FF2B5EF4-FFF2-40B4-BE49-F238E27FC236}">
                <a16:creationId xmlns:a16="http://schemas.microsoft.com/office/drawing/2014/main" id="{06426F97-F9EC-3B58-3A31-A75B56405E2B}"/>
              </a:ext>
            </a:extLst>
          </p:cNvPr>
          <p:cNvSpPr>
            <a:spLocks noGrp="1"/>
          </p:cNvSpPr>
          <p:nvPr>
            <p:ph type="body" sz="quarter" idx="14"/>
          </p:nvPr>
        </p:nvSpPr>
        <p:spPr/>
        <p:txBody>
          <a:bodyPr/>
          <a:lstStyle/>
          <a:p>
            <a:r>
              <a:rPr lang="en-US" dirty="0"/>
              <a:t>Merriam-Webster Dictionary</a:t>
            </a:r>
          </a:p>
        </p:txBody>
      </p:sp>
      <p:sp>
        <p:nvSpPr>
          <p:cNvPr id="4" name="Slide Number Placeholder 3">
            <a:extLst>
              <a:ext uri="{FF2B5EF4-FFF2-40B4-BE49-F238E27FC236}">
                <a16:creationId xmlns:a16="http://schemas.microsoft.com/office/drawing/2014/main" id="{CA72A517-C857-FC4A-0632-397E055920D1}"/>
              </a:ext>
            </a:extLst>
          </p:cNvPr>
          <p:cNvSpPr>
            <a:spLocks noGrp="1"/>
          </p:cNvSpPr>
          <p:nvPr>
            <p:ph type="sldNum" sz="quarter" idx="16"/>
          </p:nvPr>
        </p:nvSpPr>
        <p:spPr/>
        <p:txBody>
          <a:bodyPr/>
          <a:lstStyle/>
          <a:p>
            <a:fld id="{C35D1307-4518-DC49-A96C-7B35E51C61C4}" type="slidenum">
              <a:rPr lang="en-US" noProof="0" smtClean="0"/>
              <a:pPr/>
              <a:t>13</a:t>
            </a:fld>
            <a:endParaRPr lang="en-US" noProof="0"/>
          </a:p>
        </p:txBody>
      </p:sp>
    </p:spTree>
    <p:extLst>
      <p:ext uri="{BB962C8B-B14F-4D97-AF65-F5344CB8AC3E}">
        <p14:creationId xmlns:p14="http://schemas.microsoft.com/office/powerpoint/2010/main" val="4263409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B38167B-34EC-2F44-C2F2-F2828221F157}"/>
              </a:ext>
            </a:extLst>
          </p:cNvPr>
          <p:cNvSpPr>
            <a:spLocks noGrp="1"/>
          </p:cNvSpPr>
          <p:nvPr>
            <p:ph type="body" sz="quarter" idx="13"/>
          </p:nvPr>
        </p:nvSpPr>
        <p:spPr/>
        <p:txBody>
          <a:bodyPr>
            <a:normAutofit fontScale="85000" lnSpcReduction="10000"/>
          </a:bodyPr>
          <a:lstStyle/>
          <a:p>
            <a:r>
              <a:rPr lang="en-US" dirty="0"/>
              <a:t>Manifesto: a written statement declaring publicly the intentions, motives, or views of its issuer</a:t>
            </a:r>
          </a:p>
        </p:txBody>
      </p:sp>
      <p:sp>
        <p:nvSpPr>
          <p:cNvPr id="3" name="Text Placeholder 2">
            <a:extLst>
              <a:ext uri="{FF2B5EF4-FFF2-40B4-BE49-F238E27FC236}">
                <a16:creationId xmlns:a16="http://schemas.microsoft.com/office/drawing/2014/main" id="{D166B6D3-3669-A968-6B9C-8EE0CCA1D6EF}"/>
              </a:ext>
            </a:extLst>
          </p:cNvPr>
          <p:cNvSpPr>
            <a:spLocks noGrp="1"/>
          </p:cNvSpPr>
          <p:nvPr>
            <p:ph type="body" sz="quarter" idx="14"/>
          </p:nvPr>
        </p:nvSpPr>
        <p:spPr/>
        <p:txBody>
          <a:bodyPr/>
          <a:lstStyle/>
          <a:p>
            <a:r>
              <a:rPr lang="en-US" dirty="0"/>
              <a:t>Merriam-Webster Dictionary</a:t>
            </a:r>
          </a:p>
        </p:txBody>
      </p:sp>
      <p:sp>
        <p:nvSpPr>
          <p:cNvPr id="4" name="Slide Number Placeholder 3">
            <a:extLst>
              <a:ext uri="{FF2B5EF4-FFF2-40B4-BE49-F238E27FC236}">
                <a16:creationId xmlns:a16="http://schemas.microsoft.com/office/drawing/2014/main" id="{94E5005E-4922-B567-7358-44DFCD2A377B}"/>
              </a:ext>
            </a:extLst>
          </p:cNvPr>
          <p:cNvSpPr>
            <a:spLocks noGrp="1"/>
          </p:cNvSpPr>
          <p:nvPr>
            <p:ph type="sldNum" sz="quarter" idx="16"/>
          </p:nvPr>
        </p:nvSpPr>
        <p:spPr/>
        <p:txBody>
          <a:bodyPr/>
          <a:lstStyle/>
          <a:p>
            <a:fld id="{C35D1307-4518-DC49-A96C-7B35E51C61C4}" type="slidenum">
              <a:rPr lang="en-US" noProof="0" smtClean="0"/>
              <a:pPr/>
              <a:t>14</a:t>
            </a:fld>
            <a:endParaRPr lang="en-US" noProof="0"/>
          </a:p>
        </p:txBody>
      </p:sp>
    </p:spTree>
    <p:extLst>
      <p:ext uri="{BB962C8B-B14F-4D97-AF65-F5344CB8AC3E}">
        <p14:creationId xmlns:p14="http://schemas.microsoft.com/office/powerpoint/2010/main" val="4225370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0D1B2-118E-B59F-3609-80C36A8672D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577D329-7F41-26FF-0C29-E0863C34AC4A}"/>
              </a:ext>
            </a:extLst>
          </p:cNvPr>
          <p:cNvSpPr>
            <a:spLocks noGrp="1"/>
          </p:cNvSpPr>
          <p:nvPr>
            <p:ph type="body" sz="quarter" idx="13"/>
          </p:nvPr>
        </p:nvSpPr>
        <p:spPr/>
        <p:txBody>
          <a:bodyPr>
            <a:normAutofit fontScale="92500" lnSpcReduction="10000"/>
          </a:bodyPr>
          <a:lstStyle/>
          <a:p>
            <a:r>
              <a:rPr lang="en-US" dirty="0"/>
              <a:t>Religion: a personal set or institutionalized system of religious attitudes, beliefs, and practices</a:t>
            </a:r>
          </a:p>
        </p:txBody>
      </p:sp>
      <p:sp>
        <p:nvSpPr>
          <p:cNvPr id="3" name="Text Placeholder 2">
            <a:extLst>
              <a:ext uri="{FF2B5EF4-FFF2-40B4-BE49-F238E27FC236}">
                <a16:creationId xmlns:a16="http://schemas.microsoft.com/office/drawing/2014/main" id="{11D2D7CB-EF95-4F94-6766-12F8A9805827}"/>
              </a:ext>
            </a:extLst>
          </p:cNvPr>
          <p:cNvSpPr>
            <a:spLocks noGrp="1"/>
          </p:cNvSpPr>
          <p:nvPr>
            <p:ph type="body" sz="quarter" idx="14"/>
          </p:nvPr>
        </p:nvSpPr>
        <p:spPr/>
        <p:txBody>
          <a:bodyPr/>
          <a:lstStyle/>
          <a:p>
            <a:r>
              <a:rPr lang="en-US" dirty="0"/>
              <a:t>Merriam-Webster Dictionary</a:t>
            </a:r>
          </a:p>
        </p:txBody>
      </p:sp>
      <p:sp>
        <p:nvSpPr>
          <p:cNvPr id="4" name="Slide Number Placeholder 3">
            <a:extLst>
              <a:ext uri="{FF2B5EF4-FFF2-40B4-BE49-F238E27FC236}">
                <a16:creationId xmlns:a16="http://schemas.microsoft.com/office/drawing/2014/main" id="{99A5AB4F-F9B4-B60D-CB33-7D4F7CB45AEA}"/>
              </a:ext>
            </a:extLst>
          </p:cNvPr>
          <p:cNvSpPr>
            <a:spLocks noGrp="1"/>
          </p:cNvSpPr>
          <p:nvPr>
            <p:ph type="sldNum" sz="quarter" idx="16"/>
          </p:nvPr>
        </p:nvSpPr>
        <p:spPr/>
        <p:txBody>
          <a:bodyPr/>
          <a:lstStyle/>
          <a:p>
            <a:fld id="{C35D1307-4518-DC49-A96C-7B35E51C61C4}" type="slidenum">
              <a:rPr lang="en-US" noProof="0" smtClean="0"/>
              <a:pPr/>
              <a:t>15</a:t>
            </a:fld>
            <a:endParaRPr lang="en-US" noProof="0"/>
          </a:p>
        </p:txBody>
      </p:sp>
    </p:spTree>
    <p:extLst>
      <p:ext uri="{BB962C8B-B14F-4D97-AF65-F5344CB8AC3E}">
        <p14:creationId xmlns:p14="http://schemas.microsoft.com/office/powerpoint/2010/main" val="32814765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C7AEA-81D6-C440-3A20-6A969E34419D}"/>
              </a:ext>
            </a:extLst>
          </p:cNvPr>
          <p:cNvSpPr>
            <a:spLocks noGrp="1"/>
          </p:cNvSpPr>
          <p:nvPr>
            <p:ph type="title"/>
          </p:nvPr>
        </p:nvSpPr>
        <p:spPr/>
        <p:txBody>
          <a:bodyPr/>
          <a:lstStyle/>
          <a:p>
            <a:r>
              <a:rPr lang="en-US" dirty="0"/>
              <a:t>How many Scrum Masters does it take to change a light bulb?</a:t>
            </a:r>
          </a:p>
        </p:txBody>
      </p:sp>
      <p:pic>
        <p:nvPicPr>
          <p:cNvPr id="6" name="Content Placeholder 5" descr="A person fixing a light fixture">
            <a:extLst>
              <a:ext uri="{FF2B5EF4-FFF2-40B4-BE49-F238E27FC236}">
                <a16:creationId xmlns:a16="http://schemas.microsoft.com/office/drawing/2014/main" id="{5C4B78E8-0FB5-C41B-250E-36BEB6F424AF}"/>
              </a:ext>
            </a:extLst>
          </p:cNvPr>
          <p:cNvPicPr>
            <a:picLocks noGrp="1" noChangeAspect="1"/>
          </p:cNvPicPr>
          <p:nvPr>
            <p:ph idx="1"/>
          </p:nvPr>
        </p:nvPicPr>
        <p:blipFill>
          <a:blip r:embed="rId2"/>
          <a:stretch>
            <a:fillRect/>
          </a:stretch>
        </p:blipFill>
        <p:spPr>
          <a:xfrm>
            <a:off x="4781550" y="1759109"/>
            <a:ext cx="6572250" cy="4381500"/>
          </a:xfrm>
        </p:spPr>
      </p:pic>
      <p:sp>
        <p:nvSpPr>
          <p:cNvPr id="4" name="Slide Number Placeholder 3">
            <a:extLst>
              <a:ext uri="{FF2B5EF4-FFF2-40B4-BE49-F238E27FC236}">
                <a16:creationId xmlns:a16="http://schemas.microsoft.com/office/drawing/2014/main" id="{EB9F0BB0-5201-DB3F-5185-4B29D277D895}"/>
              </a:ext>
            </a:extLst>
          </p:cNvPr>
          <p:cNvSpPr>
            <a:spLocks noGrp="1"/>
          </p:cNvSpPr>
          <p:nvPr>
            <p:ph type="sldNum" sz="quarter" idx="12"/>
          </p:nvPr>
        </p:nvSpPr>
        <p:spPr/>
        <p:txBody>
          <a:bodyPr/>
          <a:lstStyle/>
          <a:p>
            <a:fld id="{2392DDAE-9823-6946-874E-259A5CB9452D}" type="slidenum">
              <a:rPr lang="en-US" smtClean="0"/>
              <a:t>16</a:t>
            </a:fld>
            <a:endParaRPr lang="en-US"/>
          </a:p>
        </p:txBody>
      </p:sp>
      <p:sp>
        <p:nvSpPr>
          <p:cNvPr id="7" name="TextBox 6">
            <a:extLst>
              <a:ext uri="{FF2B5EF4-FFF2-40B4-BE49-F238E27FC236}">
                <a16:creationId xmlns:a16="http://schemas.microsoft.com/office/drawing/2014/main" id="{486D7181-A4AC-6044-08E1-5270E6B1139B}"/>
              </a:ext>
            </a:extLst>
          </p:cNvPr>
          <p:cNvSpPr txBox="1"/>
          <p:nvPr/>
        </p:nvSpPr>
        <p:spPr>
          <a:xfrm>
            <a:off x="838200" y="1907700"/>
            <a:ext cx="3509010" cy="2062103"/>
          </a:xfrm>
          <a:prstGeom prst="rect">
            <a:avLst/>
          </a:prstGeom>
          <a:noFill/>
        </p:spPr>
        <p:txBody>
          <a:bodyPr wrap="square" rtlCol="0">
            <a:spAutoFit/>
          </a:bodyPr>
          <a:lstStyle/>
          <a:p>
            <a:r>
              <a:rPr lang="en-US" sz="3200" dirty="0"/>
              <a:t>It wasn’t in the Sprint Goal, so we aren’t allowed to change it.</a:t>
            </a:r>
          </a:p>
        </p:txBody>
      </p:sp>
    </p:spTree>
    <p:extLst>
      <p:ext uri="{BB962C8B-B14F-4D97-AF65-F5344CB8AC3E}">
        <p14:creationId xmlns:p14="http://schemas.microsoft.com/office/powerpoint/2010/main" val="3600298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7903E-A5E3-A9EF-BC22-D25CEA5D42A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229B56DD-9B20-643D-4F92-47E1FA52F053}"/>
              </a:ext>
            </a:extLst>
          </p:cNvPr>
          <p:cNvPicPr>
            <a:picLocks noChangeAspect="1"/>
          </p:cNvPicPr>
          <p:nvPr/>
        </p:nvPicPr>
        <p:blipFill>
          <a:blip r:embed="rId2"/>
          <a:stretch>
            <a:fillRect/>
          </a:stretch>
        </p:blipFill>
        <p:spPr>
          <a:xfrm>
            <a:off x="4781550" y="1759109"/>
            <a:ext cx="6627257" cy="4418171"/>
          </a:xfrm>
          <a:prstGeom prst="rect">
            <a:avLst/>
          </a:prstGeom>
        </p:spPr>
      </p:pic>
      <p:sp>
        <p:nvSpPr>
          <p:cNvPr id="2" name="Title 1">
            <a:extLst>
              <a:ext uri="{FF2B5EF4-FFF2-40B4-BE49-F238E27FC236}">
                <a16:creationId xmlns:a16="http://schemas.microsoft.com/office/drawing/2014/main" id="{ADC0766C-9D23-4A6F-86F2-255EF68F9E86}"/>
              </a:ext>
            </a:extLst>
          </p:cNvPr>
          <p:cNvSpPr>
            <a:spLocks noGrp="1"/>
          </p:cNvSpPr>
          <p:nvPr>
            <p:ph type="title"/>
          </p:nvPr>
        </p:nvSpPr>
        <p:spPr/>
        <p:txBody>
          <a:bodyPr/>
          <a:lstStyle/>
          <a:p>
            <a:r>
              <a:rPr lang="en-US" dirty="0"/>
              <a:t>How many Product Owners does it take to change a light bulb?</a:t>
            </a:r>
          </a:p>
        </p:txBody>
      </p:sp>
      <p:sp>
        <p:nvSpPr>
          <p:cNvPr id="4" name="Slide Number Placeholder 3">
            <a:extLst>
              <a:ext uri="{FF2B5EF4-FFF2-40B4-BE49-F238E27FC236}">
                <a16:creationId xmlns:a16="http://schemas.microsoft.com/office/drawing/2014/main" id="{A4959A25-6393-E6B1-312F-9B0647CA5C5C}"/>
              </a:ext>
            </a:extLst>
          </p:cNvPr>
          <p:cNvSpPr>
            <a:spLocks noGrp="1"/>
          </p:cNvSpPr>
          <p:nvPr>
            <p:ph type="sldNum" sz="quarter" idx="12"/>
          </p:nvPr>
        </p:nvSpPr>
        <p:spPr/>
        <p:txBody>
          <a:bodyPr/>
          <a:lstStyle/>
          <a:p>
            <a:fld id="{2392DDAE-9823-6946-874E-259A5CB9452D}" type="slidenum">
              <a:rPr lang="en-US" smtClean="0"/>
              <a:t>17</a:t>
            </a:fld>
            <a:endParaRPr lang="en-US"/>
          </a:p>
        </p:txBody>
      </p:sp>
      <p:sp>
        <p:nvSpPr>
          <p:cNvPr id="7" name="TextBox 6">
            <a:extLst>
              <a:ext uri="{FF2B5EF4-FFF2-40B4-BE49-F238E27FC236}">
                <a16:creationId xmlns:a16="http://schemas.microsoft.com/office/drawing/2014/main" id="{B61C4294-0250-95A1-7AD0-3FDABC3D6D58}"/>
              </a:ext>
            </a:extLst>
          </p:cNvPr>
          <p:cNvSpPr txBox="1"/>
          <p:nvPr/>
        </p:nvSpPr>
        <p:spPr>
          <a:xfrm>
            <a:off x="838200" y="1907700"/>
            <a:ext cx="3509010" cy="3539430"/>
          </a:xfrm>
          <a:prstGeom prst="rect">
            <a:avLst/>
          </a:prstGeom>
          <a:noFill/>
        </p:spPr>
        <p:txBody>
          <a:bodyPr wrap="square" rtlCol="0">
            <a:spAutoFit/>
          </a:bodyPr>
          <a:lstStyle/>
          <a:p>
            <a:r>
              <a:rPr lang="en-US" sz="3200" dirty="0"/>
              <a:t>As a Jira Jockey who spends time in this room, </a:t>
            </a:r>
          </a:p>
          <a:p>
            <a:r>
              <a:rPr lang="en-US" sz="3200" dirty="0"/>
              <a:t>I want the light changed,</a:t>
            </a:r>
          </a:p>
          <a:p>
            <a:r>
              <a:rPr lang="en-US" sz="3200" dirty="0"/>
              <a:t>So that I </a:t>
            </a:r>
            <a:r>
              <a:rPr lang="en-US" sz="3200" dirty="0" err="1"/>
              <a:t>csn</a:t>
            </a:r>
            <a:r>
              <a:rPr lang="en-US" sz="3200" dirty="0"/>
              <a:t> se </a:t>
            </a:r>
            <a:r>
              <a:rPr lang="en-US" sz="3200" dirty="0" err="1"/>
              <a:t>wht</a:t>
            </a:r>
            <a:r>
              <a:rPr lang="en-US" sz="3200" dirty="0"/>
              <a:t> I am </a:t>
            </a:r>
            <a:r>
              <a:rPr lang="en-US" sz="3200" dirty="0" err="1"/>
              <a:t>typngg</a:t>
            </a:r>
            <a:endParaRPr lang="en-US" sz="3200" dirty="0"/>
          </a:p>
        </p:txBody>
      </p:sp>
    </p:spTree>
    <p:extLst>
      <p:ext uri="{BB962C8B-B14F-4D97-AF65-F5344CB8AC3E}">
        <p14:creationId xmlns:p14="http://schemas.microsoft.com/office/powerpoint/2010/main" val="509362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04159-B2AD-7CA4-8A0F-AA24CC47954C}"/>
            </a:ext>
          </a:extLst>
        </p:cNvPr>
        <p:cNvGrpSpPr/>
        <p:nvPr/>
      </p:nvGrpSpPr>
      <p:grpSpPr>
        <a:xfrm>
          <a:off x="0" y="0"/>
          <a:ext cx="0" cy="0"/>
          <a:chOff x="0" y="0"/>
          <a:chExt cx="0" cy="0"/>
        </a:xfrm>
      </p:grpSpPr>
      <p:pic>
        <p:nvPicPr>
          <p:cNvPr id="5" name="Picture 4" descr="A person holding a light bulb">
            <a:extLst>
              <a:ext uri="{FF2B5EF4-FFF2-40B4-BE49-F238E27FC236}">
                <a16:creationId xmlns:a16="http://schemas.microsoft.com/office/drawing/2014/main" id="{0A45B014-A503-2A6F-1FD2-FE4B45DF3BAB}"/>
              </a:ext>
            </a:extLst>
          </p:cNvPr>
          <p:cNvPicPr>
            <a:picLocks noChangeAspect="1"/>
          </p:cNvPicPr>
          <p:nvPr/>
        </p:nvPicPr>
        <p:blipFill>
          <a:blip r:embed="rId2"/>
          <a:stretch>
            <a:fillRect/>
          </a:stretch>
        </p:blipFill>
        <p:spPr>
          <a:xfrm>
            <a:off x="4781550" y="1759109"/>
            <a:ext cx="6572249" cy="4381499"/>
          </a:xfrm>
          <a:prstGeom prst="rect">
            <a:avLst/>
          </a:prstGeom>
        </p:spPr>
      </p:pic>
      <p:sp>
        <p:nvSpPr>
          <p:cNvPr id="2" name="Title 1">
            <a:extLst>
              <a:ext uri="{FF2B5EF4-FFF2-40B4-BE49-F238E27FC236}">
                <a16:creationId xmlns:a16="http://schemas.microsoft.com/office/drawing/2014/main" id="{83D11E34-B5DB-04A4-2C73-185A748FAA03}"/>
              </a:ext>
            </a:extLst>
          </p:cNvPr>
          <p:cNvSpPr>
            <a:spLocks noGrp="1"/>
          </p:cNvSpPr>
          <p:nvPr>
            <p:ph type="title"/>
          </p:nvPr>
        </p:nvSpPr>
        <p:spPr/>
        <p:txBody>
          <a:bodyPr/>
          <a:lstStyle/>
          <a:p>
            <a:r>
              <a:rPr lang="en-US" dirty="0"/>
              <a:t>When will the light bulb be changed?</a:t>
            </a:r>
          </a:p>
        </p:txBody>
      </p:sp>
      <p:sp>
        <p:nvSpPr>
          <p:cNvPr id="4" name="Slide Number Placeholder 3">
            <a:extLst>
              <a:ext uri="{FF2B5EF4-FFF2-40B4-BE49-F238E27FC236}">
                <a16:creationId xmlns:a16="http://schemas.microsoft.com/office/drawing/2014/main" id="{F751C65A-427A-A627-BC8E-E1D8A1D584A9}"/>
              </a:ext>
            </a:extLst>
          </p:cNvPr>
          <p:cNvSpPr>
            <a:spLocks noGrp="1"/>
          </p:cNvSpPr>
          <p:nvPr>
            <p:ph type="sldNum" sz="quarter" idx="12"/>
          </p:nvPr>
        </p:nvSpPr>
        <p:spPr/>
        <p:txBody>
          <a:bodyPr/>
          <a:lstStyle/>
          <a:p>
            <a:fld id="{2392DDAE-9823-6946-874E-259A5CB9452D}" type="slidenum">
              <a:rPr lang="en-US" smtClean="0"/>
              <a:t>18</a:t>
            </a:fld>
            <a:endParaRPr lang="en-US"/>
          </a:p>
        </p:txBody>
      </p:sp>
      <p:sp>
        <p:nvSpPr>
          <p:cNvPr id="7" name="TextBox 6">
            <a:extLst>
              <a:ext uri="{FF2B5EF4-FFF2-40B4-BE49-F238E27FC236}">
                <a16:creationId xmlns:a16="http://schemas.microsoft.com/office/drawing/2014/main" id="{9616ADEE-37BE-2327-3E03-C392C3BF3513}"/>
              </a:ext>
            </a:extLst>
          </p:cNvPr>
          <p:cNvSpPr txBox="1"/>
          <p:nvPr/>
        </p:nvSpPr>
        <p:spPr>
          <a:xfrm>
            <a:off x="838200" y="1907700"/>
            <a:ext cx="3509010" cy="4031873"/>
          </a:xfrm>
          <a:prstGeom prst="rect">
            <a:avLst/>
          </a:prstGeom>
          <a:noFill/>
        </p:spPr>
        <p:txBody>
          <a:bodyPr wrap="square" rtlCol="0">
            <a:spAutoFit/>
          </a:bodyPr>
          <a:lstStyle/>
          <a:p>
            <a:r>
              <a:rPr lang="en-US" sz="3200" dirty="0"/>
              <a:t>Sorry, but we can’t give a date, but assure you that we are making great progress this Sprint towards getting it changed</a:t>
            </a:r>
          </a:p>
        </p:txBody>
      </p:sp>
    </p:spTree>
    <p:extLst>
      <p:ext uri="{BB962C8B-B14F-4D97-AF65-F5344CB8AC3E}">
        <p14:creationId xmlns:p14="http://schemas.microsoft.com/office/powerpoint/2010/main" val="729225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156DF-A5BB-3FA7-830C-C915DEC6D309}"/>
              </a:ext>
            </a:extLst>
          </p:cNvPr>
          <p:cNvSpPr>
            <a:spLocks noGrp="1"/>
          </p:cNvSpPr>
          <p:nvPr>
            <p:ph type="title"/>
          </p:nvPr>
        </p:nvSpPr>
        <p:spPr/>
        <p:txBody>
          <a:bodyPr/>
          <a:lstStyle/>
          <a:p>
            <a:r>
              <a:rPr lang="en-US" dirty="0"/>
              <a:t>What did Agile Become?</a:t>
            </a:r>
          </a:p>
        </p:txBody>
      </p:sp>
      <p:sp>
        <p:nvSpPr>
          <p:cNvPr id="3" name="Content Placeholder 2">
            <a:extLst>
              <a:ext uri="{FF2B5EF4-FFF2-40B4-BE49-F238E27FC236}">
                <a16:creationId xmlns:a16="http://schemas.microsoft.com/office/drawing/2014/main" id="{2B026E6D-B9CE-EBD4-56DB-931DE455C612}"/>
              </a:ext>
            </a:extLst>
          </p:cNvPr>
          <p:cNvSpPr>
            <a:spLocks noGrp="1"/>
          </p:cNvSpPr>
          <p:nvPr>
            <p:ph idx="1"/>
          </p:nvPr>
        </p:nvSpPr>
        <p:spPr/>
        <p:txBody>
          <a:bodyPr/>
          <a:lstStyle/>
          <a:p>
            <a:r>
              <a:rPr lang="en-US" dirty="0"/>
              <a:t>CDD</a:t>
            </a:r>
          </a:p>
          <a:p>
            <a:pPr lvl="1"/>
            <a:r>
              <a:rPr lang="en-US" dirty="0"/>
              <a:t>Ceremonies and Templates</a:t>
            </a:r>
          </a:p>
          <a:p>
            <a:pPr lvl="1"/>
            <a:r>
              <a:rPr lang="en-US" dirty="0"/>
              <a:t>Checkbox mentality</a:t>
            </a:r>
          </a:p>
          <a:p>
            <a:pPr lvl="1"/>
            <a:r>
              <a:rPr lang="en-US" dirty="0"/>
              <a:t>2 day certifications of a “Master”</a:t>
            </a:r>
          </a:p>
          <a:p>
            <a:endParaRPr lang="en-US" dirty="0"/>
          </a:p>
        </p:txBody>
      </p:sp>
      <p:sp>
        <p:nvSpPr>
          <p:cNvPr id="4" name="Slide Number Placeholder 3">
            <a:extLst>
              <a:ext uri="{FF2B5EF4-FFF2-40B4-BE49-F238E27FC236}">
                <a16:creationId xmlns:a16="http://schemas.microsoft.com/office/drawing/2014/main" id="{24C5C99B-ACA7-9DB6-DAB6-63A4B1D8AAF2}"/>
              </a:ext>
            </a:extLst>
          </p:cNvPr>
          <p:cNvSpPr>
            <a:spLocks noGrp="1"/>
          </p:cNvSpPr>
          <p:nvPr>
            <p:ph type="sldNum" sz="quarter" idx="12"/>
          </p:nvPr>
        </p:nvSpPr>
        <p:spPr/>
        <p:txBody>
          <a:bodyPr/>
          <a:lstStyle/>
          <a:p>
            <a:fld id="{2392DDAE-9823-6946-874E-259A5CB9452D}" type="slidenum">
              <a:rPr lang="en-US" smtClean="0"/>
              <a:t>19</a:t>
            </a:fld>
            <a:endParaRPr lang="en-US"/>
          </a:p>
        </p:txBody>
      </p:sp>
      <p:pic>
        <p:nvPicPr>
          <p:cNvPr id="5122" name="Picture 2" descr="Scrum Master Daily Checklist">
            <a:extLst>
              <a:ext uri="{FF2B5EF4-FFF2-40B4-BE49-F238E27FC236}">
                <a16:creationId xmlns:a16="http://schemas.microsoft.com/office/drawing/2014/main" id="{B38742DB-2056-6AC8-0841-FD7F71D0C4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2108" y="365125"/>
            <a:ext cx="4161692" cy="5879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96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77CCFC-12C7-68F8-9262-B360C57E3EBF}"/>
              </a:ext>
            </a:extLst>
          </p:cNvPr>
          <p:cNvSpPr>
            <a:spLocks noGrp="1"/>
          </p:cNvSpPr>
          <p:nvPr>
            <p:ph type="body" sz="quarter" idx="13"/>
          </p:nvPr>
        </p:nvSpPr>
        <p:spPr>
          <a:xfrm>
            <a:off x="2491741" y="1855788"/>
            <a:ext cx="7909560" cy="2674937"/>
          </a:xfrm>
        </p:spPr>
        <p:txBody>
          <a:bodyPr>
            <a:normAutofit fontScale="62500" lnSpcReduction="20000"/>
          </a:bodyPr>
          <a:lstStyle/>
          <a:p>
            <a:r>
              <a:rPr lang="en-US" dirty="0"/>
              <a:t>“The agile role in our tech organization was critical to our earlier transformation phases, but as our organization matured, the natural next step is to integrate agile delivery processes directly into our core engineering practices” </a:t>
            </a:r>
          </a:p>
        </p:txBody>
      </p:sp>
      <p:pic>
        <p:nvPicPr>
          <p:cNvPr id="1026" name="Picture 2">
            <a:extLst>
              <a:ext uri="{FF2B5EF4-FFF2-40B4-BE49-F238E27FC236}">
                <a16:creationId xmlns:a16="http://schemas.microsoft.com/office/drawing/2014/main" id="{BB6E993F-CB33-9D94-9921-34CC556AEB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58990" y="5047701"/>
            <a:ext cx="3436620" cy="1235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4073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430DF67-F650-A8B0-A10A-02F1C9C51DFD}"/>
              </a:ext>
            </a:extLst>
          </p:cNvPr>
          <p:cNvSpPr>
            <a:spLocks noGrp="1"/>
          </p:cNvSpPr>
          <p:nvPr>
            <p:ph type="title"/>
          </p:nvPr>
        </p:nvSpPr>
        <p:spPr/>
        <p:txBody>
          <a:bodyPr>
            <a:normAutofit fontScale="90000"/>
          </a:bodyPr>
          <a:lstStyle/>
          <a:p>
            <a:r>
              <a:rPr lang="en-US" dirty="0"/>
              <a:t>Agility?</a:t>
            </a:r>
          </a:p>
        </p:txBody>
      </p:sp>
      <p:pic>
        <p:nvPicPr>
          <p:cNvPr id="4" name="Picture 3">
            <a:extLst>
              <a:ext uri="{FF2B5EF4-FFF2-40B4-BE49-F238E27FC236}">
                <a16:creationId xmlns:a16="http://schemas.microsoft.com/office/drawing/2014/main" id="{CB07FDB0-0ABE-9DB9-A049-4D3148B0E3F9}"/>
              </a:ext>
            </a:extLst>
          </p:cNvPr>
          <p:cNvPicPr>
            <a:picLocks noChangeAspect="1"/>
          </p:cNvPicPr>
          <p:nvPr/>
        </p:nvPicPr>
        <p:blipFill>
          <a:blip r:embed="rId2"/>
          <a:stretch>
            <a:fillRect/>
          </a:stretch>
        </p:blipFill>
        <p:spPr>
          <a:xfrm>
            <a:off x="2755806" y="1600202"/>
            <a:ext cx="6680388" cy="4525963"/>
          </a:xfrm>
          <a:prstGeom prst="rect">
            <a:avLst/>
          </a:prstGeom>
          <a:noFill/>
        </p:spPr>
      </p:pic>
    </p:spTree>
    <p:extLst>
      <p:ext uri="{BB962C8B-B14F-4D97-AF65-F5344CB8AC3E}">
        <p14:creationId xmlns:p14="http://schemas.microsoft.com/office/powerpoint/2010/main" val="2385031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76C23-8EB6-530E-6554-00C9D1F17E2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0BF4751-A3E5-E170-9A71-CB96B1B5D738}"/>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04745D1B-28CF-A202-9135-D3F4553C9C46}"/>
              </a:ext>
            </a:extLst>
          </p:cNvPr>
          <p:cNvSpPr>
            <a:spLocks noGrp="1"/>
          </p:cNvSpPr>
          <p:nvPr>
            <p:ph type="sldNum" sz="quarter" idx="12"/>
          </p:nvPr>
        </p:nvSpPr>
        <p:spPr/>
        <p:txBody>
          <a:bodyPr/>
          <a:lstStyle/>
          <a:p>
            <a:fld id="{2392DDAE-9823-6946-874E-259A5CB9452D}" type="slidenum">
              <a:rPr lang="en-US" smtClean="0"/>
              <a:t>21</a:t>
            </a:fld>
            <a:endParaRPr lang="en-US"/>
          </a:p>
        </p:txBody>
      </p:sp>
      <p:pic>
        <p:nvPicPr>
          <p:cNvPr id="6" name="Picture 5">
            <a:extLst>
              <a:ext uri="{FF2B5EF4-FFF2-40B4-BE49-F238E27FC236}">
                <a16:creationId xmlns:a16="http://schemas.microsoft.com/office/drawing/2014/main" id="{98DD1825-4C92-099B-E277-30E16CF409D6}"/>
              </a:ext>
            </a:extLst>
          </p:cNvPr>
          <p:cNvPicPr>
            <a:picLocks noChangeAspect="1"/>
          </p:cNvPicPr>
          <p:nvPr/>
        </p:nvPicPr>
        <p:blipFill>
          <a:blip r:embed="rId2"/>
          <a:stretch>
            <a:fillRect/>
          </a:stretch>
        </p:blipFill>
        <p:spPr>
          <a:xfrm>
            <a:off x="589901" y="-16193"/>
            <a:ext cx="10763899" cy="6419096"/>
          </a:xfrm>
          <a:prstGeom prst="rect">
            <a:avLst/>
          </a:prstGeom>
        </p:spPr>
      </p:pic>
    </p:spTree>
    <p:extLst>
      <p:ext uri="{BB962C8B-B14F-4D97-AF65-F5344CB8AC3E}">
        <p14:creationId xmlns:p14="http://schemas.microsoft.com/office/powerpoint/2010/main" val="1752360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3AAB3-CF25-ADC9-8B22-D42200914945}"/>
              </a:ext>
            </a:extLst>
          </p:cNvPr>
          <p:cNvSpPr>
            <a:spLocks noGrp="1"/>
          </p:cNvSpPr>
          <p:nvPr>
            <p:ph type="title"/>
          </p:nvPr>
        </p:nvSpPr>
        <p:spPr/>
        <p:txBody>
          <a:bodyPr/>
          <a:lstStyle/>
          <a:p>
            <a:r>
              <a:rPr lang="en-US" dirty="0"/>
              <a:t>We just need an Agile Mindset</a:t>
            </a:r>
          </a:p>
        </p:txBody>
      </p:sp>
      <p:pic>
        <p:nvPicPr>
          <p:cNvPr id="6" name="Content Placeholder 5" descr="A diagram of a diagram of a brain&#10;&#10;Description automatically generated">
            <a:extLst>
              <a:ext uri="{FF2B5EF4-FFF2-40B4-BE49-F238E27FC236}">
                <a16:creationId xmlns:a16="http://schemas.microsoft.com/office/drawing/2014/main" id="{934B267D-1EA4-D980-BDD6-C15C54474486}"/>
              </a:ext>
            </a:extLst>
          </p:cNvPr>
          <p:cNvPicPr>
            <a:picLocks noGrp="1" noChangeAspect="1"/>
          </p:cNvPicPr>
          <p:nvPr>
            <p:ph idx="1"/>
          </p:nvPr>
        </p:nvPicPr>
        <p:blipFill>
          <a:blip r:embed="rId2"/>
          <a:stretch>
            <a:fillRect/>
          </a:stretch>
        </p:blipFill>
        <p:spPr>
          <a:xfrm>
            <a:off x="5544258" y="1516474"/>
            <a:ext cx="6647742" cy="4654506"/>
          </a:xfrm>
        </p:spPr>
      </p:pic>
      <p:sp>
        <p:nvSpPr>
          <p:cNvPr id="4" name="Slide Number Placeholder 3">
            <a:extLst>
              <a:ext uri="{FF2B5EF4-FFF2-40B4-BE49-F238E27FC236}">
                <a16:creationId xmlns:a16="http://schemas.microsoft.com/office/drawing/2014/main" id="{DC872A48-A1CD-9676-0281-1BEA04DA5F30}"/>
              </a:ext>
            </a:extLst>
          </p:cNvPr>
          <p:cNvSpPr>
            <a:spLocks noGrp="1"/>
          </p:cNvSpPr>
          <p:nvPr>
            <p:ph type="sldNum" sz="quarter" idx="12"/>
          </p:nvPr>
        </p:nvSpPr>
        <p:spPr/>
        <p:txBody>
          <a:bodyPr/>
          <a:lstStyle/>
          <a:p>
            <a:fld id="{2392DDAE-9823-6946-874E-259A5CB9452D}" type="slidenum">
              <a:rPr lang="en-US" smtClean="0"/>
              <a:t>22</a:t>
            </a:fld>
            <a:endParaRPr lang="en-US"/>
          </a:p>
        </p:txBody>
      </p:sp>
      <p:pic>
        <p:nvPicPr>
          <p:cNvPr id="8" name="Picture 7" descr="A hand with words in the shape of a cloud&#10;&#10;Description automatically generated">
            <a:extLst>
              <a:ext uri="{FF2B5EF4-FFF2-40B4-BE49-F238E27FC236}">
                <a16:creationId xmlns:a16="http://schemas.microsoft.com/office/drawing/2014/main" id="{946D40EA-25F4-C575-F538-0EC6EDE5783A}"/>
              </a:ext>
            </a:extLst>
          </p:cNvPr>
          <p:cNvPicPr>
            <a:picLocks noChangeAspect="1"/>
          </p:cNvPicPr>
          <p:nvPr/>
        </p:nvPicPr>
        <p:blipFill>
          <a:blip r:embed="rId3"/>
          <a:stretch>
            <a:fillRect/>
          </a:stretch>
        </p:blipFill>
        <p:spPr>
          <a:xfrm>
            <a:off x="0" y="2373763"/>
            <a:ext cx="5873454" cy="3114141"/>
          </a:xfrm>
          <a:prstGeom prst="rect">
            <a:avLst/>
          </a:prstGeom>
        </p:spPr>
      </p:pic>
    </p:spTree>
    <p:extLst>
      <p:ext uri="{BB962C8B-B14F-4D97-AF65-F5344CB8AC3E}">
        <p14:creationId xmlns:p14="http://schemas.microsoft.com/office/powerpoint/2010/main" val="377461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A6F4F-94D2-FD5A-BBC6-A020C3AE3B83}"/>
              </a:ext>
            </a:extLst>
          </p:cNvPr>
          <p:cNvSpPr>
            <a:spLocks noGrp="1"/>
          </p:cNvSpPr>
          <p:nvPr>
            <p:ph type="title"/>
          </p:nvPr>
        </p:nvSpPr>
        <p:spPr/>
        <p:txBody>
          <a:bodyPr/>
          <a:lstStyle/>
          <a:p>
            <a:r>
              <a:rPr lang="en-US" dirty="0"/>
              <a:t>Any Agile Coaches in the Audience?</a:t>
            </a:r>
          </a:p>
        </p:txBody>
      </p:sp>
      <p:pic>
        <p:nvPicPr>
          <p:cNvPr id="6" name="Content Placeholder 5" descr="A person hugging a tree">
            <a:extLst>
              <a:ext uri="{FF2B5EF4-FFF2-40B4-BE49-F238E27FC236}">
                <a16:creationId xmlns:a16="http://schemas.microsoft.com/office/drawing/2014/main" id="{9E0E1C39-0D8D-B13B-7AE8-6DC616A3880A}"/>
              </a:ext>
            </a:extLst>
          </p:cNvPr>
          <p:cNvPicPr>
            <a:picLocks noGrp="1" noChangeAspect="1"/>
          </p:cNvPicPr>
          <p:nvPr>
            <p:ph idx="1"/>
          </p:nvPr>
        </p:nvPicPr>
        <p:blipFill>
          <a:blip r:embed="rId2"/>
          <a:stretch>
            <a:fillRect/>
          </a:stretch>
        </p:blipFill>
        <p:spPr>
          <a:xfrm>
            <a:off x="1943100" y="1667242"/>
            <a:ext cx="8305800" cy="4673153"/>
          </a:xfrm>
        </p:spPr>
      </p:pic>
      <p:sp>
        <p:nvSpPr>
          <p:cNvPr id="4" name="Slide Number Placeholder 3">
            <a:extLst>
              <a:ext uri="{FF2B5EF4-FFF2-40B4-BE49-F238E27FC236}">
                <a16:creationId xmlns:a16="http://schemas.microsoft.com/office/drawing/2014/main" id="{1A1B4A53-F7B2-D30D-7542-C7A23A17BF26}"/>
              </a:ext>
            </a:extLst>
          </p:cNvPr>
          <p:cNvSpPr>
            <a:spLocks noGrp="1"/>
          </p:cNvSpPr>
          <p:nvPr>
            <p:ph type="sldNum" sz="quarter" idx="12"/>
          </p:nvPr>
        </p:nvSpPr>
        <p:spPr/>
        <p:txBody>
          <a:bodyPr/>
          <a:lstStyle/>
          <a:p>
            <a:fld id="{2392DDAE-9823-6946-874E-259A5CB9452D}" type="slidenum">
              <a:rPr lang="en-US" smtClean="0"/>
              <a:t>23</a:t>
            </a:fld>
            <a:endParaRPr lang="en-US"/>
          </a:p>
        </p:txBody>
      </p:sp>
    </p:spTree>
    <p:extLst>
      <p:ext uri="{BB962C8B-B14F-4D97-AF65-F5344CB8AC3E}">
        <p14:creationId xmlns:p14="http://schemas.microsoft.com/office/powerpoint/2010/main" val="2150546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2EF1B-2996-26A3-9F83-507ED40ECA92}"/>
            </a:ext>
          </a:extLst>
        </p:cNvPr>
        <p:cNvGrpSpPr/>
        <p:nvPr/>
      </p:nvGrpSpPr>
      <p:grpSpPr>
        <a:xfrm>
          <a:off x="0" y="0"/>
          <a:ext cx="0" cy="0"/>
          <a:chOff x="0" y="0"/>
          <a:chExt cx="0" cy="0"/>
        </a:xfrm>
      </p:grpSpPr>
      <p:pic>
        <p:nvPicPr>
          <p:cNvPr id="11" name="Picture 10" descr="A person holding a light bulb">
            <a:extLst>
              <a:ext uri="{FF2B5EF4-FFF2-40B4-BE49-F238E27FC236}">
                <a16:creationId xmlns:a16="http://schemas.microsoft.com/office/drawing/2014/main" id="{FCFC27F7-3191-742B-F419-0EB3D2649D6D}"/>
              </a:ext>
            </a:extLst>
          </p:cNvPr>
          <p:cNvPicPr>
            <a:picLocks noChangeAspect="1"/>
          </p:cNvPicPr>
          <p:nvPr/>
        </p:nvPicPr>
        <p:blipFill>
          <a:blip r:embed="rId2"/>
          <a:stretch>
            <a:fillRect/>
          </a:stretch>
        </p:blipFill>
        <p:spPr>
          <a:xfrm>
            <a:off x="4781551" y="1775850"/>
            <a:ext cx="6572248" cy="4381499"/>
          </a:xfrm>
          <a:prstGeom prst="rect">
            <a:avLst/>
          </a:prstGeom>
        </p:spPr>
      </p:pic>
      <p:sp>
        <p:nvSpPr>
          <p:cNvPr id="2" name="Title 1">
            <a:extLst>
              <a:ext uri="{FF2B5EF4-FFF2-40B4-BE49-F238E27FC236}">
                <a16:creationId xmlns:a16="http://schemas.microsoft.com/office/drawing/2014/main" id="{528CFA89-5F1A-E4D6-1C30-3093B47AD66B}"/>
              </a:ext>
            </a:extLst>
          </p:cNvPr>
          <p:cNvSpPr>
            <a:spLocks noGrp="1"/>
          </p:cNvSpPr>
          <p:nvPr>
            <p:ph type="title"/>
          </p:nvPr>
        </p:nvSpPr>
        <p:spPr/>
        <p:txBody>
          <a:bodyPr/>
          <a:lstStyle/>
          <a:p>
            <a:r>
              <a:rPr lang="en-US" dirty="0"/>
              <a:t>How many Agile Coaches does it take to change a light bulb?</a:t>
            </a:r>
          </a:p>
        </p:txBody>
      </p:sp>
      <p:sp>
        <p:nvSpPr>
          <p:cNvPr id="4" name="Slide Number Placeholder 3">
            <a:extLst>
              <a:ext uri="{FF2B5EF4-FFF2-40B4-BE49-F238E27FC236}">
                <a16:creationId xmlns:a16="http://schemas.microsoft.com/office/drawing/2014/main" id="{6D887E97-AE0E-FA9A-7ABB-2284B88E112A}"/>
              </a:ext>
            </a:extLst>
          </p:cNvPr>
          <p:cNvSpPr>
            <a:spLocks noGrp="1"/>
          </p:cNvSpPr>
          <p:nvPr>
            <p:ph type="sldNum" sz="quarter" idx="12"/>
          </p:nvPr>
        </p:nvSpPr>
        <p:spPr/>
        <p:txBody>
          <a:bodyPr/>
          <a:lstStyle/>
          <a:p>
            <a:fld id="{2392DDAE-9823-6946-874E-259A5CB9452D}" type="slidenum">
              <a:rPr lang="en-US" smtClean="0"/>
              <a:t>24</a:t>
            </a:fld>
            <a:endParaRPr lang="en-US"/>
          </a:p>
        </p:txBody>
      </p:sp>
      <p:sp>
        <p:nvSpPr>
          <p:cNvPr id="7" name="TextBox 6">
            <a:extLst>
              <a:ext uri="{FF2B5EF4-FFF2-40B4-BE49-F238E27FC236}">
                <a16:creationId xmlns:a16="http://schemas.microsoft.com/office/drawing/2014/main" id="{D6D48F18-8796-2A76-1230-FB619514724C}"/>
              </a:ext>
            </a:extLst>
          </p:cNvPr>
          <p:cNvSpPr txBox="1"/>
          <p:nvPr/>
        </p:nvSpPr>
        <p:spPr>
          <a:xfrm>
            <a:off x="838200" y="1907700"/>
            <a:ext cx="3509010" cy="1569660"/>
          </a:xfrm>
          <a:prstGeom prst="rect">
            <a:avLst/>
          </a:prstGeom>
          <a:noFill/>
        </p:spPr>
        <p:txBody>
          <a:bodyPr wrap="square" rtlCol="0">
            <a:spAutoFit/>
          </a:bodyPr>
          <a:lstStyle/>
          <a:p>
            <a:r>
              <a:rPr lang="en-US" sz="3200" dirty="0"/>
              <a:t>Is that a sustainable light bulb?</a:t>
            </a:r>
          </a:p>
        </p:txBody>
      </p:sp>
    </p:spTree>
    <p:extLst>
      <p:ext uri="{BB962C8B-B14F-4D97-AF65-F5344CB8AC3E}">
        <p14:creationId xmlns:p14="http://schemas.microsoft.com/office/powerpoint/2010/main" val="3299615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FDE6CA-9882-DF47-5493-A051491C98F3}"/>
              </a:ext>
            </a:extLst>
          </p:cNvPr>
          <p:cNvPicPr>
            <a:picLocks noChangeAspect="1"/>
          </p:cNvPicPr>
          <p:nvPr/>
        </p:nvPicPr>
        <p:blipFill rotWithShape="1">
          <a:blip r:embed="rId2">
            <a:alphaModFix/>
          </a:blip>
          <a:srcRect l="8000" r="-1" b="-1"/>
          <a:stretch/>
        </p:blipFill>
        <p:spPr>
          <a:xfrm>
            <a:off x="20" y="10"/>
            <a:ext cx="12191980" cy="6857990"/>
          </a:xfrm>
          <a:prstGeom prst="rect">
            <a:avLst/>
          </a:prstGeom>
        </p:spPr>
      </p:pic>
    </p:spTree>
    <p:extLst>
      <p:ext uri="{BB962C8B-B14F-4D97-AF65-F5344CB8AC3E}">
        <p14:creationId xmlns:p14="http://schemas.microsoft.com/office/powerpoint/2010/main" val="14645463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1520B01-A2E4-41C2-8A8F-7683F2508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354513" y="841375"/>
            <a:ext cx="3505200" cy="3114698"/>
          </a:xfrm>
        </p:spPr>
        <p:txBody>
          <a:bodyPr vert="horz" lIns="91440" tIns="45720" rIns="91440" bIns="45720" rtlCol="0" anchor="b">
            <a:normAutofit/>
          </a:bodyPr>
          <a:lstStyle/>
          <a:p>
            <a:pPr algn="ctr"/>
            <a:r>
              <a:rPr lang="en-US" sz="5200" b="1" kern="1200" dirty="0">
                <a:solidFill>
                  <a:schemeClr val="bg1"/>
                </a:solidFill>
                <a:latin typeface="+mj-lt"/>
                <a:ea typeface="+mj-ea"/>
                <a:cs typeface="+mj-cs"/>
              </a:rPr>
              <a:t>Is your Mindset a Bucket or a Filter?</a:t>
            </a:r>
          </a:p>
        </p:txBody>
      </p:sp>
      <p:grpSp>
        <p:nvGrpSpPr>
          <p:cNvPr id="12" name="Group 11">
            <a:extLst>
              <a:ext uri="{FF2B5EF4-FFF2-40B4-BE49-F238E27FC236}">
                <a16:creationId xmlns:a16="http://schemas.microsoft.com/office/drawing/2014/main" id="{1F634C0A-A487-42AF-8DFD-4DAD62FE92B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0"/>
            <a:ext cx="4087640" cy="6858000"/>
            <a:chOff x="1" y="0"/>
            <a:chExt cx="4087640" cy="6858000"/>
          </a:xfrm>
          <a:effectLst>
            <a:outerShdw blurRad="381000" dist="152400" algn="ctr" rotWithShape="0">
              <a:srgbClr val="000000">
                <a:alpha val="10000"/>
              </a:srgbClr>
            </a:outerShdw>
          </a:effectLst>
        </p:grpSpPr>
        <p:sp>
          <p:nvSpPr>
            <p:cNvPr id="13" name="Freeform: Shape 12">
              <a:extLst>
                <a:ext uri="{FF2B5EF4-FFF2-40B4-BE49-F238E27FC236}">
                  <a16:creationId xmlns:a16="http://schemas.microsoft.com/office/drawing/2014/main" id="{7412B137-E115-42F2-8CF9-67E40B5D2C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 y="0"/>
              <a:ext cx="3986041" cy="6858000"/>
            </a:xfrm>
            <a:custGeom>
              <a:avLst/>
              <a:gdLst>
                <a:gd name="connsiteX0" fmla="*/ 0 w 3986041"/>
                <a:gd name="connsiteY0" fmla="*/ 0 h 6858000"/>
                <a:gd name="connsiteX1" fmla="*/ 3066495 w 3986041"/>
                <a:gd name="connsiteY1" fmla="*/ 0 h 6858000"/>
                <a:gd name="connsiteX2" fmla="*/ 3427241 w 3986041"/>
                <a:gd name="connsiteY2" fmla="*/ 1211943 h 6858000"/>
                <a:gd name="connsiteX3" fmla="*/ 3986041 w 3986041"/>
                <a:gd name="connsiteY3" fmla="*/ 4122057 h 6858000"/>
                <a:gd name="connsiteX4" fmla="*/ 3751724 w 3986041"/>
                <a:gd name="connsiteY4" fmla="*/ 6858000 h 6858000"/>
                <a:gd name="connsiteX5" fmla="*/ 0 w 398604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6041" h="6858000">
                  <a:moveTo>
                    <a:pt x="0" y="0"/>
                  </a:moveTo>
                  <a:lnTo>
                    <a:pt x="3066495" y="0"/>
                  </a:lnTo>
                  <a:lnTo>
                    <a:pt x="3427241" y="1211943"/>
                  </a:lnTo>
                  <a:lnTo>
                    <a:pt x="3986041" y="4122057"/>
                  </a:lnTo>
                  <a:lnTo>
                    <a:pt x="3751724" y="6858000"/>
                  </a:lnTo>
                  <a:lnTo>
                    <a:pt x="0" y="6858000"/>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0779E94B-3A8C-4695-9DA1-2EDEFB170B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748588"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l="4378" r="14588" b="-1"/>
          <a:stretch/>
        </p:blipFill>
        <p:spPr>
          <a:xfrm>
            <a:off x="20" y="10"/>
            <a:ext cx="3910064" cy="6857990"/>
          </a:xfrm>
          <a:custGeom>
            <a:avLst/>
            <a:gdLst/>
            <a:ahLst/>
            <a:cxnLst/>
            <a:rect l="l" t="t" r="r" b="b"/>
            <a:pathLst>
              <a:path w="3910084" h="6858000">
                <a:moveTo>
                  <a:pt x="0" y="0"/>
                </a:moveTo>
                <a:lnTo>
                  <a:pt x="2996382" y="0"/>
                </a:lnTo>
                <a:lnTo>
                  <a:pt x="3563333" y="1750276"/>
                </a:lnTo>
                <a:lnTo>
                  <a:pt x="3910084" y="6054385"/>
                </a:lnTo>
                <a:lnTo>
                  <a:pt x="3791309" y="6858000"/>
                </a:lnTo>
                <a:lnTo>
                  <a:pt x="0" y="6858000"/>
                </a:lnTo>
                <a:close/>
              </a:path>
            </a:pathLst>
          </a:custGeom>
        </p:spPr>
      </p:pic>
      <p:grpSp>
        <p:nvGrpSpPr>
          <p:cNvPr id="16" name="Group 15">
            <a:extLst>
              <a:ext uri="{FF2B5EF4-FFF2-40B4-BE49-F238E27FC236}">
                <a16:creationId xmlns:a16="http://schemas.microsoft.com/office/drawing/2014/main" id="{066EE5A2-0D35-4D6A-A5C7-1CA91F740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748589" y="0"/>
            <a:ext cx="1339053" cy="6858000"/>
            <a:chOff x="2661507" y="0"/>
            <a:chExt cx="1339053" cy="6858000"/>
          </a:xfrm>
        </p:grpSpPr>
        <p:sp>
          <p:nvSpPr>
            <p:cNvPr id="17" name="Freeform: Shape 16">
              <a:extLst>
                <a:ext uri="{FF2B5EF4-FFF2-40B4-BE49-F238E27FC236}">
                  <a16:creationId xmlns:a16="http://schemas.microsoft.com/office/drawing/2014/main" id="{4DFBB771-C61C-4F38-ABBB-98A2D8476D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A2432BD6-3DCC-4397-BD7F-3FE84F32100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blipFill dpi="0" rotWithShape="1">
              <a:blip r:embed="rId3">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20" name="Group 19">
            <a:extLst>
              <a:ext uri="{FF2B5EF4-FFF2-40B4-BE49-F238E27FC236}">
                <a16:creationId xmlns:a16="http://schemas.microsoft.com/office/drawing/2014/main" id="{56AA1647-0DA6-4A17-B3E1-95D61BD5471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8104360" y="0"/>
            <a:ext cx="4087640" cy="6858000"/>
            <a:chOff x="1" y="0"/>
            <a:chExt cx="4087640" cy="6858000"/>
          </a:xfrm>
          <a:effectLst>
            <a:outerShdw blurRad="381000" dist="152400" algn="ctr" rotWithShape="0">
              <a:srgbClr val="000000">
                <a:alpha val="10000"/>
              </a:srgbClr>
            </a:outerShdw>
          </a:effectLst>
        </p:grpSpPr>
        <p:sp>
          <p:nvSpPr>
            <p:cNvPr id="21" name="Freeform: Shape 20">
              <a:extLst>
                <a:ext uri="{FF2B5EF4-FFF2-40B4-BE49-F238E27FC236}">
                  <a16:creationId xmlns:a16="http://schemas.microsoft.com/office/drawing/2014/main" id="{1F1D8352-2F00-4057-8781-E455C455B9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 y="0"/>
              <a:ext cx="3986041" cy="6858000"/>
            </a:xfrm>
            <a:custGeom>
              <a:avLst/>
              <a:gdLst>
                <a:gd name="connsiteX0" fmla="*/ 0 w 3986041"/>
                <a:gd name="connsiteY0" fmla="*/ 0 h 6858000"/>
                <a:gd name="connsiteX1" fmla="*/ 3066495 w 3986041"/>
                <a:gd name="connsiteY1" fmla="*/ 0 h 6858000"/>
                <a:gd name="connsiteX2" fmla="*/ 3427241 w 3986041"/>
                <a:gd name="connsiteY2" fmla="*/ 1211943 h 6858000"/>
                <a:gd name="connsiteX3" fmla="*/ 3986041 w 3986041"/>
                <a:gd name="connsiteY3" fmla="*/ 4122057 h 6858000"/>
                <a:gd name="connsiteX4" fmla="*/ 3751724 w 3986041"/>
                <a:gd name="connsiteY4" fmla="*/ 6858000 h 6858000"/>
                <a:gd name="connsiteX5" fmla="*/ 0 w 3986041"/>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6041" h="6858000">
                  <a:moveTo>
                    <a:pt x="0" y="0"/>
                  </a:moveTo>
                  <a:lnTo>
                    <a:pt x="3066495" y="0"/>
                  </a:lnTo>
                  <a:lnTo>
                    <a:pt x="3427241" y="1211943"/>
                  </a:lnTo>
                  <a:lnTo>
                    <a:pt x="3986041" y="4122057"/>
                  </a:lnTo>
                  <a:lnTo>
                    <a:pt x="3751724" y="6858000"/>
                  </a:lnTo>
                  <a:lnTo>
                    <a:pt x="0" y="6858000"/>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3BE70D92-7E07-4A6F-BD82-729F71C268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748588"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4088" r="2816"/>
          <a:stretch/>
        </p:blipFill>
        <p:spPr>
          <a:xfrm>
            <a:off x="8281916" y="1"/>
            <a:ext cx="3910084" cy="6858000"/>
          </a:xfrm>
          <a:custGeom>
            <a:avLst/>
            <a:gdLst/>
            <a:ahLst/>
            <a:cxnLst/>
            <a:rect l="l" t="t" r="r" b="b"/>
            <a:pathLst>
              <a:path w="3910084" h="6858000">
                <a:moveTo>
                  <a:pt x="118775" y="0"/>
                </a:moveTo>
                <a:lnTo>
                  <a:pt x="3910084" y="0"/>
                </a:lnTo>
                <a:lnTo>
                  <a:pt x="3910084" y="6858000"/>
                </a:lnTo>
                <a:lnTo>
                  <a:pt x="913702" y="6858000"/>
                </a:lnTo>
                <a:lnTo>
                  <a:pt x="346751" y="5107724"/>
                </a:lnTo>
                <a:lnTo>
                  <a:pt x="0" y="803615"/>
                </a:lnTo>
                <a:close/>
              </a:path>
            </a:pathLst>
          </a:custGeom>
        </p:spPr>
      </p:pic>
      <p:grpSp>
        <p:nvGrpSpPr>
          <p:cNvPr id="24" name="Group 23">
            <a:extLst>
              <a:ext uri="{FF2B5EF4-FFF2-40B4-BE49-F238E27FC236}">
                <a16:creationId xmlns:a16="http://schemas.microsoft.com/office/drawing/2014/main" id="{08D20F07-CD49-4F17-BC00-9429DA80C50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8104359" y="-2"/>
            <a:ext cx="1339053" cy="6858000"/>
            <a:chOff x="2661507" y="0"/>
            <a:chExt cx="1339053" cy="6858000"/>
          </a:xfrm>
          <a:effectLst>
            <a:outerShdw blurRad="381000" dist="152400" dir="10800000" algn="r" rotWithShape="0">
              <a:prstClr val="black">
                <a:alpha val="10000"/>
              </a:prstClr>
            </a:outerShdw>
          </a:effectLst>
        </p:grpSpPr>
        <p:sp>
          <p:nvSpPr>
            <p:cNvPr id="25" name="Freeform: Shape 24">
              <a:extLst>
                <a:ext uri="{FF2B5EF4-FFF2-40B4-BE49-F238E27FC236}">
                  <a16:creationId xmlns:a16="http://schemas.microsoft.com/office/drawing/2014/main" id="{11F66703-4D0D-42DF-8150-991FE9F869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 name="Freeform: Shape 25">
              <a:extLst>
                <a:ext uri="{FF2B5EF4-FFF2-40B4-BE49-F238E27FC236}">
                  <a16:creationId xmlns:a16="http://schemas.microsoft.com/office/drawing/2014/main" id="{E96840F9-95E6-4C98-BFE4-21B5954236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61507" y="0"/>
              <a:ext cx="1339053" cy="6858000"/>
            </a:xfrm>
            <a:custGeom>
              <a:avLst/>
              <a:gdLst>
                <a:gd name="connsiteX0" fmla="*/ 850532 w 1339053"/>
                <a:gd name="connsiteY0" fmla="*/ 3481838 h 6858000"/>
                <a:gd name="connsiteX1" fmla="*/ 877027 w 1339053"/>
                <a:gd name="connsiteY1" fmla="*/ 3490955 h 6858000"/>
                <a:gd name="connsiteX2" fmla="*/ 922718 w 1339053"/>
                <a:gd name="connsiteY2" fmla="*/ 3516472 h 6858000"/>
                <a:gd name="connsiteX3" fmla="*/ 1094179 w 1339053"/>
                <a:gd name="connsiteY3" fmla="*/ 3567567 h 6858000"/>
                <a:gd name="connsiteX4" fmla="*/ 1118891 w 1339053"/>
                <a:gd name="connsiteY4" fmla="*/ 3568331 h 6858000"/>
                <a:gd name="connsiteX5" fmla="*/ 1295961 w 1339053"/>
                <a:gd name="connsiteY5" fmla="*/ 3584709 h 6858000"/>
                <a:gd name="connsiteX6" fmla="*/ 1308070 w 1339053"/>
                <a:gd name="connsiteY6" fmla="*/ 3585183 h 6858000"/>
                <a:gd name="connsiteX7" fmla="*/ 1325263 w 1339053"/>
                <a:gd name="connsiteY7" fmla="*/ 3705453 h 6858000"/>
                <a:gd name="connsiteX8" fmla="*/ 1334107 w 1339053"/>
                <a:gd name="connsiteY8" fmla="*/ 3772268 h 6858000"/>
                <a:gd name="connsiteX9" fmla="*/ 1338203 w 1339053"/>
                <a:gd name="connsiteY9" fmla="*/ 3831076 h 6858000"/>
                <a:gd name="connsiteX10" fmla="*/ 1338805 w 1339053"/>
                <a:gd name="connsiteY10" fmla="*/ 3839709 h 6858000"/>
                <a:gd name="connsiteX11" fmla="*/ 1335635 w 1339053"/>
                <a:gd name="connsiteY11" fmla="*/ 4118635 h 6858000"/>
                <a:gd name="connsiteX12" fmla="*/ 1337171 w 1339053"/>
                <a:gd name="connsiteY12" fmla="*/ 4209403 h 6858000"/>
                <a:gd name="connsiteX13" fmla="*/ 1325840 w 1339053"/>
                <a:gd name="connsiteY13" fmla="*/ 4309174 h 6858000"/>
                <a:gd name="connsiteX14" fmla="*/ 1321122 w 1339053"/>
                <a:gd name="connsiteY14" fmla="*/ 4473630 h 6858000"/>
                <a:gd name="connsiteX15" fmla="*/ 1302196 w 1339053"/>
                <a:gd name="connsiteY15" fmla="*/ 4791709 h 6858000"/>
                <a:gd name="connsiteX16" fmla="*/ 1293239 w 1339053"/>
                <a:gd name="connsiteY16" fmla="*/ 4860048 h 6858000"/>
                <a:gd name="connsiteX17" fmla="*/ 1288829 w 1339053"/>
                <a:gd name="connsiteY17" fmla="*/ 5039837 h 6858000"/>
                <a:gd name="connsiteX18" fmla="*/ 1289584 w 1339053"/>
                <a:gd name="connsiteY18" fmla="*/ 5148703 h 6858000"/>
                <a:gd name="connsiteX19" fmla="*/ 1282205 w 1339053"/>
                <a:gd name="connsiteY19" fmla="*/ 5236435 h 6858000"/>
                <a:gd name="connsiteX20" fmla="*/ 1268145 w 1339053"/>
                <a:gd name="connsiteY20" fmla="*/ 5311662 h 6858000"/>
                <a:gd name="connsiteX21" fmla="*/ 1250547 w 1339053"/>
                <a:gd name="connsiteY21" fmla="*/ 5515595 h 6858000"/>
                <a:gd name="connsiteX22" fmla="*/ 1243323 w 1339053"/>
                <a:gd name="connsiteY22" fmla="*/ 5596885 h 6858000"/>
                <a:gd name="connsiteX23" fmla="*/ 1238303 w 1339053"/>
                <a:gd name="connsiteY23" fmla="*/ 5812036 h 6858000"/>
                <a:gd name="connsiteX24" fmla="*/ 1223551 w 1339053"/>
                <a:gd name="connsiteY24" fmla="*/ 5991171 h 6858000"/>
                <a:gd name="connsiteX25" fmla="*/ 1219699 w 1339053"/>
                <a:gd name="connsiteY25" fmla="*/ 6066726 h 6858000"/>
                <a:gd name="connsiteX26" fmla="*/ 1199935 w 1339053"/>
                <a:gd name="connsiteY26" fmla="*/ 6236130 h 6858000"/>
                <a:gd name="connsiteX27" fmla="*/ 1192857 w 1339053"/>
                <a:gd name="connsiteY27" fmla="*/ 6333267 h 6858000"/>
                <a:gd name="connsiteX28" fmla="*/ 1148174 w 1339053"/>
                <a:gd name="connsiteY28" fmla="*/ 6561849 h 6858000"/>
                <a:gd name="connsiteX29" fmla="*/ 1100424 w 1339053"/>
                <a:gd name="connsiteY29" fmla="*/ 6797385 h 6858000"/>
                <a:gd name="connsiteX30" fmla="*/ 1085621 w 1339053"/>
                <a:gd name="connsiteY30" fmla="*/ 6858000 h 6858000"/>
                <a:gd name="connsiteX31" fmla="*/ 932341 w 1339053"/>
                <a:gd name="connsiteY31" fmla="*/ 6858000 h 6858000"/>
                <a:gd name="connsiteX32" fmla="*/ 944496 w 1339053"/>
                <a:gd name="connsiteY32" fmla="*/ 6829656 h 6858000"/>
                <a:gd name="connsiteX33" fmla="*/ 913239 w 1339053"/>
                <a:gd name="connsiteY33" fmla="*/ 6720119 h 6858000"/>
                <a:gd name="connsiteX34" fmla="*/ 870682 w 1339053"/>
                <a:gd name="connsiteY34" fmla="*/ 6655346 h 6858000"/>
                <a:gd name="connsiteX35" fmla="*/ 846442 w 1339053"/>
                <a:gd name="connsiteY35" fmla="*/ 6498594 h 6858000"/>
                <a:gd name="connsiteX36" fmla="*/ 881150 w 1339053"/>
                <a:gd name="connsiteY36" fmla="*/ 6473756 h 6858000"/>
                <a:gd name="connsiteX37" fmla="*/ 922470 w 1339053"/>
                <a:gd name="connsiteY37" fmla="*/ 6377035 h 6858000"/>
                <a:gd name="connsiteX38" fmla="*/ 955039 w 1339053"/>
                <a:gd name="connsiteY38" fmla="*/ 6268585 h 6858000"/>
                <a:gd name="connsiteX39" fmla="*/ 1024350 w 1339053"/>
                <a:gd name="connsiteY39" fmla="*/ 6083443 h 6858000"/>
                <a:gd name="connsiteX40" fmla="*/ 999696 w 1339053"/>
                <a:gd name="connsiteY40" fmla="*/ 5938416 h 6858000"/>
                <a:gd name="connsiteX41" fmla="*/ 988342 w 1339053"/>
                <a:gd name="connsiteY41" fmla="*/ 5882426 h 6858000"/>
                <a:gd name="connsiteX42" fmla="*/ 985444 w 1339053"/>
                <a:gd name="connsiteY42" fmla="*/ 5832438 h 6858000"/>
                <a:gd name="connsiteX43" fmla="*/ 992016 w 1339053"/>
                <a:gd name="connsiteY43" fmla="*/ 5777751 h 6858000"/>
                <a:gd name="connsiteX44" fmla="*/ 995028 w 1339053"/>
                <a:gd name="connsiteY44" fmla="*/ 5641832 h 6858000"/>
                <a:gd name="connsiteX45" fmla="*/ 981247 w 1339053"/>
                <a:gd name="connsiteY45" fmla="*/ 5562522 h 6858000"/>
                <a:gd name="connsiteX46" fmla="*/ 995131 w 1339053"/>
                <a:gd name="connsiteY46" fmla="*/ 5398075 h 6858000"/>
                <a:gd name="connsiteX47" fmla="*/ 997379 w 1339053"/>
                <a:gd name="connsiteY47" fmla="*/ 5283928 h 6858000"/>
                <a:gd name="connsiteX48" fmla="*/ 979617 w 1339053"/>
                <a:gd name="connsiteY48" fmla="*/ 5157396 h 6858000"/>
                <a:gd name="connsiteX49" fmla="*/ 976441 w 1339053"/>
                <a:gd name="connsiteY49" fmla="*/ 5139485 h 6858000"/>
                <a:gd name="connsiteX50" fmla="*/ 953793 w 1339053"/>
                <a:gd name="connsiteY50" fmla="*/ 5091862 h 6858000"/>
                <a:gd name="connsiteX51" fmla="*/ 853056 w 1339053"/>
                <a:gd name="connsiteY51" fmla="*/ 5001787 h 6858000"/>
                <a:gd name="connsiteX52" fmla="*/ 833979 w 1339053"/>
                <a:gd name="connsiteY52" fmla="*/ 4978966 h 6858000"/>
                <a:gd name="connsiteX53" fmla="*/ 796995 w 1339053"/>
                <a:gd name="connsiteY53" fmla="*/ 4813768 h 6858000"/>
                <a:gd name="connsiteX54" fmla="*/ 820590 w 1339053"/>
                <a:gd name="connsiteY54" fmla="*/ 4764057 h 6858000"/>
                <a:gd name="connsiteX55" fmla="*/ 864688 w 1339053"/>
                <a:gd name="connsiteY55" fmla="*/ 4714752 h 6858000"/>
                <a:gd name="connsiteX56" fmla="*/ 910485 w 1339053"/>
                <a:gd name="connsiteY56" fmla="*/ 4590911 h 6858000"/>
                <a:gd name="connsiteX57" fmla="*/ 911445 w 1339053"/>
                <a:gd name="connsiteY57" fmla="*/ 4539571 h 6858000"/>
                <a:gd name="connsiteX58" fmla="*/ 900285 w 1339053"/>
                <a:gd name="connsiteY58" fmla="*/ 4445837 h 6858000"/>
                <a:gd name="connsiteX59" fmla="*/ 863237 w 1339053"/>
                <a:gd name="connsiteY59" fmla="*/ 4364703 h 6858000"/>
                <a:gd name="connsiteX60" fmla="*/ 798070 w 1339053"/>
                <a:gd name="connsiteY60" fmla="*/ 4243284 h 6858000"/>
                <a:gd name="connsiteX61" fmla="*/ 817097 w 1339053"/>
                <a:gd name="connsiteY61" fmla="*/ 4054750 h 6858000"/>
                <a:gd name="connsiteX62" fmla="*/ 826251 w 1339053"/>
                <a:gd name="connsiteY62" fmla="*/ 3982801 h 6858000"/>
                <a:gd name="connsiteX63" fmla="*/ 836848 w 1339053"/>
                <a:gd name="connsiteY63" fmla="*/ 3784939 h 6858000"/>
                <a:gd name="connsiteX64" fmla="*/ 841285 w 1339053"/>
                <a:gd name="connsiteY64" fmla="*/ 3766755 h 6858000"/>
                <a:gd name="connsiteX65" fmla="*/ 841284 w 1339053"/>
                <a:gd name="connsiteY65" fmla="*/ 3766755 h 6858000"/>
                <a:gd name="connsiteX66" fmla="*/ 852925 w 1339053"/>
                <a:gd name="connsiteY66" fmla="*/ 3719034 h 6858000"/>
                <a:gd name="connsiteX67" fmla="*/ 857932 w 1339053"/>
                <a:gd name="connsiteY67" fmla="*/ 3696880 h 6858000"/>
                <a:gd name="connsiteX68" fmla="*/ 853534 w 1339053"/>
                <a:gd name="connsiteY68" fmla="*/ 3507036 h 6858000"/>
                <a:gd name="connsiteX69" fmla="*/ 850226 w 1339053"/>
                <a:gd name="connsiteY69" fmla="*/ 3485839 h 6858000"/>
                <a:gd name="connsiteX70" fmla="*/ 0 w 1339053"/>
                <a:gd name="connsiteY70" fmla="*/ 0 h 6858000"/>
                <a:gd name="connsiteX71" fmla="*/ 455609 w 1339053"/>
                <a:gd name="connsiteY71" fmla="*/ 0 h 6858000"/>
                <a:gd name="connsiteX72" fmla="*/ 459171 w 1339053"/>
                <a:gd name="connsiteY72" fmla="*/ 72395 h 6858000"/>
                <a:gd name="connsiteX73" fmla="*/ 460041 w 1339053"/>
                <a:gd name="connsiteY73" fmla="*/ 131917 h 6858000"/>
                <a:gd name="connsiteX74" fmla="*/ 504421 w 1339053"/>
                <a:gd name="connsiteY74" fmla="*/ 389691 h 6858000"/>
                <a:gd name="connsiteX75" fmla="*/ 582097 w 1339053"/>
                <a:gd name="connsiteY75" fmla="*/ 634609 h 6858000"/>
                <a:gd name="connsiteX76" fmla="*/ 702468 w 1339053"/>
                <a:gd name="connsiteY76" fmla="*/ 834019 h 6858000"/>
                <a:gd name="connsiteX77" fmla="*/ 729203 w 1339053"/>
                <a:gd name="connsiteY77" fmla="*/ 887701 h 6858000"/>
                <a:gd name="connsiteX78" fmla="*/ 743787 w 1339053"/>
                <a:gd name="connsiteY78" fmla="*/ 1016355 h 6858000"/>
                <a:gd name="connsiteX79" fmla="*/ 750083 w 1339053"/>
                <a:gd name="connsiteY79" fmla="*/ 1128060 h 6858000"/>
                <a:gd name="connsiteX80" fmla="*/ 768866 w 1339053"/>
                <a:gd name="connsiteY80" fmla="*/ 1213431 h 6858000"/>
                <a:gd name="connsiteX81" fmla="*/ 787802 w 1339053"/>
                <a:gd name="connsiteY81" fmla="*/ 1286432 h 6858000"/>
                <a:gd name="connsiteX82" fmla="*/ 842837 w 1339053"/>
                <a:gd name="connsiteY82" fmla="*/ 1455511 h 6858000"/>
                <a:gd name="connsiteX83" fmla="*/ 877988 w 1339053"/>
                <a:gd name="connsiteY83" fmla="*/ 1634814 h 6858000"/>
                <a:gd name="connsiteX84" fmla="*/ 941063 w 1339053"/>
                <a:gd name="connsiteY84" fmla="*/ 1789731 h 6858000"/>
                <a:gd name="connsiteX85" fmla="*/ 980124 w 1339053"/>
                <a:gd name="connsiteY85" fmla="*/ 1857657 h 6858000"/>
                <a:gd name="connsiteX86" fmla="*/ 984484 w 1339053"/>
                <a:gd name="connsiteY86" fmla="*/ 1976384 h 6858000"/>
                <a:gd name="connsiteX87" fmla="*/ 1007189 w 1339053"/>
                <a:gd name="connsiteY87" fmla="*/ 2110650 h 6858000"/>
                <a:gd name="connsiteX88" fmla="*/ 1039893 w 1339053"/>
                <a:gd name="connsiteY88" fmla="*/ 2211041 h 6858000"/>
                <a:gd name="connsiteX89" fmla="*/ 1059162 w 1339053"/>
                <a:gd name="connsiteY89" fmla="*/ 2286682 h 6858000"/>
                <a:gd name="connsiteX90" fmla="*/ 1070522 w 1339053"/>
                <a:gd name="connsiteY90" fmla="*/ 2388667 h 6858000"/>
                <a:gd name="connsiteX91" fmla="*/ 1093939 w 1339053"/>
                <a:gd name="connsiteY91" fmla="*/ 2494653 h 6858000"/>
                <a:gd name="connsiteX92" fmla="*/ 1112007 w 1339053"/>
                <a:gd name="connsiteY92" fmla="*/ 2548197 h 6858000"/>
                <a:gd name="connsiteX93" fmla="*/ 1138346 w 1339053"/>
                <a:gd name="connsiteY93" fmla="*/ 2649163 h 6858000"/>
                <a:gd name="connsiteX94" fmla="*/ 1160337 w 1339053"/>
                <a:gd name="connsiteY94" fmla="*/ 2751608 h 6858000"/>
                <a:gd name="connsiteX95" fmla="*/ 1165737 w 1339053"/>
                <a:gd name="connsiteY95" fmla="*/ 2933012 h 6858000"/>
                <a:gd name="connsiteX96" fmla="*/ 1202029 w 1339053"/>
                <a:gd name="connsiteY96" fmla="*/ 3107873 h 6858000"/>
                <a:gd name="connsiteX97" fmla="*/ 1225692 w 1339053"/>
                <a:gd name="connsiteY97" fmla="*/ 3244974 h 6858000"/>
                <a:gd name="connsiteX98" fmla="*/ 1243916 w 1339053"/>
                <a:gd name="connsiteY98" fmla="*/ 3326221 h 6858000"/>
                <a:gd name="connsiteX99" fmla="*/ 1293067 w 1339053"/>
                <a:gd name="connsiteY99" fmla="*/ 3480219 h 6858000"/>
                <a:gd name="connsiteX100" fmla="*/ 1308071 w 1339053"/>
                <a:gd name="connsiteY100" fmla="*/ 3585182 h 6858000"/>
                <a:gd name="connsiteX101" fmla="*/ 1295962 w 1339053"/>
                <a:gd name="connsiteY101" fmla="*/ 3584708 h 6858000"/>
                <a:gd name="connsiteX102" fmla="*/ 1118893 w 1339053"/>
                <a:gd name="connsiteY102" fmla="*/ 3568330 h 6858000"/>
                <a:gd name="connsiteX103" fmla="*/ 1094179 w 1339053"/>
                <a:gd name="connsiteY103" fmla="*/ 3567566 h 6858000"/>
                <a:gd name="connsiteX104" fmla="*/ 922719 w 1339053"/>
                <a:gd name="connsiteY104" fmla="*/ 3516472 h 6858000"/>
                <a:gd name="connsiteX105" fmla="*/ 877028 w 1339053"/>
                <a:gd name="connsiteY105" fmla="*/ 3490955 h 6858000"/>
                <a:gd name="connsiteX106" fmla="*/ 850533 w 1339053"/>
                <a:gd name="connsiteY106" fmla="*/ 3481837 h 6858000"/>
                <a:gd name="connsiteX107" fmla="*/ 852113 w 1339053"/>
                <a:gd name="connsiteY107" fmla="*/ 3461170 h 6858000"/>
                <a:gd name="connsiteX108" fmla="*/ 831383 w 1339053"/>
                <a:gd name="connsiteY108" fmla="*/ 3399179 h 6858000"/>
                <a:gd name="connsiteX109" fmla="*/ 743141 w 1339053"/>
                <a:gd name="connsiteY109" fmla="*/ 3320580 h 6858000"/>
                <a:gd name="connsiteX110" fmla="*/ 713221 w 1339053"/>
                <a:gd name="connsiteY110" fmla="*/ 3251241 h 6858000"/>
                <a:gd name="connsiteX111" fmla="*/ 697098 w 1339053"/>
                <a:gd name="connsiteY111" fmla="*/ 3202528 h 6858000"/>
                <a:gd name="connsiteX112" fmla="*/ 664820 w 1339053"/>
                <a:gd name="connsiteY112" fmla="*/ 3154190 h 6858000"/>
                <a:gd name="connsiteX113" fmla="*/ 572501 w 1339053"/>
                <a:gd name="connsiteY113" fmla="*/ 3087312 h 6858000"/>
                <a:gd name="connsiteX114" fmla="*/ 497703 w 1339053"/>
                <a:gd name="connsiteY114" fmla="*/ 3005243 h 6858000"/>
                <a:gd name="connsiteX115" fmla="*/ 476984 w 1339053"/>
                <a:gd name="connsiteY115" fmla="*/ 2892751 h 6858000"/>
                <a:gd name="connsiteX116" fmla="*/ 468947 w 1339053"/>
                <a:gd name="connsiteY116" fmla="*/ 2824527 h 6858000"/>
                <a:gd name="connsiteX117" fmla="*/ 569138 w 1339053"/>
                <a:gd name="connsiteY117" fmla="*/ 2595026 h 6858000"/>
                <a:gd name="connsiteX118" fmla="*/ 645397 w 1339053"/>
                <a:gd name="connsiteY118" fmla="*/ 2440808 h 6858000"/>
                <a:gd name="connsiteX119" fmla="*/ 651820 w 1339053"/>
                <a:gd name="connsiteY119" fmla="*/ 2384384 h 6858000"/>
                <a:gd name="connsiteX120" fmla="*/ 612994 w 1339053"/>
                <a:gd name="connsiteY120" fmla="*/ 2207332 h 6858000"/>
                <a:gd name="connsiteX121" fmla="*/ 620894 w 1339053"/>
                <a:gd name="connsiteY121" fmla="*/ 2046679 h 6858000"/>
                <a:gd name="connsiteX122" fmla="*/ 644614 w 1339053"/>
                <a:gd name="connsiteY122" fmla="*/ 1931265 h 6858000"/>
                <a:gd name="connsiteX123" fmla="*/ 665994 w 1339053"/>
                <a:gd name="connsiteY123" fmla="*/ 1832337 h 6858000"/>
                <a:gd name="connsiteX124" fmla="*/ 678276 w 1339053"/>
                <a:gd name="connsiteY124" fmla="*/ 1709437 h 6858000"/>
                <a:gd name="connsiteX125" fmla="*/ 672955 w 1339053"/>
                <a:gd name="connsiteY125" fmla="*/ 1636123 h 6858000"/>
                <a:gd name="connsiteX126" fmla="*/ 668480 w 1339053"/>
                <a:gd name="connsiteY126" fmla="*/ 1520749 h 6858000"/>
                <a:gd name="connsiteX127" fmla="*/ 653920 w 1339053"/>
                <a:gd name="connsiteY127" fmla="*/ 1399437 h 6858000"/>
                <a:gd name="connsiteX128" fmla="*/ 612686 w 1339053"/>
                <a:gd name="connsiteY128" fmla="*/ 1296979 h 6858000"/>
                <a:gd name="connsiteX129" fmla="*/ 570220 w 1339053"/>
                <a:gd name="connsiteY129" fmla="*/ 1235618 h 6858000"/>
                <a:gd name="connsiteX130" fmla="*/ 529736 w 1339053"/>
                <a:gd name="connsiteY130" fmla="*/ 1081752 h 6858000"/>
                <a:gd name="connsiteX131" fmla="*/ 414305 w 1339053"/>
                <a:gd name="connsiteY131" fmla="*/ 918292 h 6858000"/>
                <a:gd name="connsiteX132" fmla="*/ 373924 w 1339053"/>
                <a:gd name="connsiteY132" fmla="*/ 825689 h 6858000"/>
                <a:gd name="connsiteX133" fmla="*/ 368949 w 1339053"/>
                <a:gd name="connsiteY133" fmla="*/ 778726 h 6858000"/>
                <a:gd name="connsiteX134" fmla="*/ 347020 w 1339053"/>
                <a:gd name="connsiteY134" fmla="*/ 694643 h 6858000"/>
                <a:gd name="connsiteX135" fmla="*/ 327478 w 1339053"/>
                <a:gd name="connsiteY135" fmla="*/ 642898 h 6858000"/>
                <a:gd name="connsiteX136" fmla="*/ 243468 w 1339053"/>
                <a:gd name="connsiteY136" fmla="*/ 491960 h 6858000"/>
                <a:gd name="connsiteX137" fmla="*/ 218930 w 1339053"/>
                <a:gd name="connsiteY137" fmla="*/ 446010 h 6858000"/>
                <a:gd name="connsiteX138" fmla="*/ 180614 w 1339053"/>
                <a:gd name="connsiteY138" fmla="*/ 354892 h 6858000"/>
                <a:gd name="connsiteX139" fmla="*/ 171988 w 1339053"/>
                <a:gd name="connsiteY139" fmla="*/ 317521 h 6858000"/>
                <a:gd name="connsiteX140" fmla="*/ 139875 w 1339053"/>
                <a:gd name="connsiteY140" fmla="*/ 246378 h 6858000"/>
                <a:gd name="connsiteX141" fmla="*/ 51499 w 1339053"/>
                <a:gd name="connsiteY141" fmla="*/ 73211 h 6858000"/>
                <a:gd name="connsiteX142" fmla="*/ 19690 w 1339053"/>
                <a:gd name="connsiteY142" fmla="*/ 36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339053" h="6858000">
                  <a:moveTo>
                    <a:pt x="850532" y="3481838"/>
                  </a:moveTo>
                  <a:lnTo>
                    <a:pt x="877027" y="3490955"/>
                  </a:lnTo>
                  <a:cubicBezTo>
                    <a:pt x="892941" y="3497986"/>
                    <a:pt x="908176" y="3506416"/>
                    <a:pt x="922718" y="3516472"/>
                  </a:cubicBezTo>
                  <a:cubicBezTo>
                    <a:pt x="967062" y="3547282"/>
                    <a:pt x="1027547" y="3564030"/>
                    <a:pt x="1094179" y="3567567"/>
                  </a:cubicBezTo>
                  <a:cubicBezTo>
                    <a:pt x="1102515" y="3567965"/>
                    <a:pt x="1113434" y="3565936"/>
                    <a:pt x="1118891" y="3568331"/>
                  </a:cubicBezTo>
                  <a:cubicBezTo>
                    <a:pt x="1180628" y="3594888"/>
                    <a:pt x="1237753" y="3586304"/>
                    <a:pt x="1295961" y="3584709"/>
                  </a:cubicBezTo>
                  <a:lnTo>
                    <a:pt x="1308070" y="3585183"/>
                  </a:lnTo>
                  <a:lnTo>
                    <a:pt x="1325263" y="3705453"/>
                  </a:lnTo>
                  <a:cubicBezTo>
                    <a:pt x="1328254" y="3727679"/>
                    <a:pt x="1331526" y="3749922"/>
                    <a:pt x="1334107" y="3772268"/>
                  </a:cubicBezTo>
                  <a:lnTo>
                    <a:pt x="1338203" y="3831076"/>
                  </a:lnTo>
                  <a:lnTo>
                    <a:pt x="1338805" y="3839709"/>
                  </a:lnTo>
                  <a:cubicBezTo>
                    <a:pt x="1339996" y="3932341"/>
                    <a:pt x="1336568" y="4025809"/>
                    <a:pt x="1335635" y="4118635"/>
                  </a:cubicBezTo>
                  <a:cubicBezTo>
                    <a:pt x="1335202" y="4148976"/>
                    <a:pt x="1338805" y="4178868"/>
                    <a:pt x="1337171" y="4209403"/>
                  </a:cubicBezTo>
                  <a:cubicBezTo>
                    <a:pt x="1335445" y="4242449"/>
                    <a:pt x="1327565" y="4276129"/>
                    <a:pt x="1325840" y="4309174"/>
                  </a:cubicBezTo>
                  <a:cubicBezTo>
                    <a:pt x="1322853" y="4364122"/>
                    <a:pt x="1323899" y="4418621"/>
                    <a:pt x="1321122" y="4473630"/>
                  </a:cubicBezTo>
                  <a:cubicBezTo>
                    <a:pt x="1315632" y="4579723"/>
                    <a:pt x="1309019" y="4685750"/>
                    <a:pt x="1302196" y="4791709"/>
                  </a:cubicBezTo>
                  <a:cubicBezTo>
                    <a:pt x="1300696" y="4814383"/>
                    <a:pt x="1294244" y="4837504"/>
                    <a:pt x="1293239" y="4860048"/>
                  </a:cubicBezTo>
                  <a:cubicBezTo>
                    <a:pt x="1290785" y="4919957"/>
                    <a:pt x="1289660" y="4979994"/>
                    <a:pt x="1288829" y="5039837"/>
                  </a:cubicBezTo>
                  <a:cubicBezTo>
                    <a:pt x="1288401" y="5076103"/>
                    <a:pt x="1290512" y="5112310"/>
                    <a:pt x="1289584" y="5148703"/>
                  </a:cubicBezTo>
                  <a:cubicBezTo>
                    <a:pt x="1288845" y="5177820"/>
                    <a:pt x="1286193" y="5207193"/>
                    <a:pt x="1282205" y="5236435"/>
                  </a:cubicBezTo>
                  <a:cubicBezTo>
                    <a:pt x="1278784" y="5261619"/>
                    <a:pt x="1270649" y="5286477"/>
                    <a:pt x="1268145" y="5311662"/>
                  </a:cubicBezTo>
                  <a:cubicBezTo>
                    <a:pt x="1261308" y="5379812"/>
                    <a:pt x="1256387" y="5447703"/>
                    <a:pt x="1250547" y="5515595"/>
                  </a:cubicBezTo>
                  <a:cubicBezTo>
                    <a:pt x="1248113" y="5542776"/>
                    <a:pt x="1244054" y="5570023"/>
                    <a:pt x="1243323" y="5596885"/>
                  </a:cubicBezTo>
                  <a:cubicBezTo>
                    <a:pt x="1241082" y="5668709"/>
                    <a:pt x="1241668" y="5740276"/>
                    <a:pt x="1238303" y="5812036"/>
                  </a:cubicBezTo>
                  <a:cubicBezTo>
                    <a:pt x="1235508" y="5871554"/>
                    <a:pt x="1228259" y="5931392"/>
                    <a:pt x="1223551" y="5991171"/>
                  </a:cubicBezTo>
                  <a:cubicBezTo>
                    <a:pt x="1221675" y="6016549"/>
                    <a:pt x="1222415" y="6041609"/>
                    <a:pt x="1219699" y="6066726"/>
                  </a:cubicBezTo>
                  <a:cubicBezTo>
                    <a:pt x="1213776" y="6123024"/>
                    <a:pt x="1205938" y="6179576"/>
                    <a:pt x="1199935" y="6236130"/>
                  </a:cubicBezTo>
                  <a:cubicBezTo>
                    <a:pt x="1196614" y="6268403"/>
                    <a:pt x="1198425" y="6301127"/>
                    <a:pt x="1192857" y="6333267"/>
                  </a:cubicBezTo>
                  <a:cubicBezTo>
                    <a:pt x="1179603" y="6409590"/>
                    <a:pt x="1163470" y="6485591"/>
                    <a:pt x="1148174" y="6561849"/>
                  </a:cubicBezTo>
                  <a:cubicBezTo>
                    <a:pt x="1132370" y="6640486"/>
                    <a:pt x="1117066" y="6719000"/>
                    <a:pt x="1100424" y="6797385"/>
                  </a:cubicBezTo>
                  <a:lnTo>
                    <a:pt x="1085621" y="6858000"/>
                  </a:lnTo>
                  <a:lnTo>
                    <a:pt x="932341" y="6858000"/>
                  </a:lnTo>
                  <a:lnTo>
                    <a:pt x="944496" y="6829656"/>
                  </a:lnTo>
                  <a:cubicBezTo>
                    <a:pt x="964836" y="6776399"/>
                    <a:pt x="953622" y="6744439"/>
                    <a:pt x="913239" y="6720119"/>
                  </a:cubicBezTo>
                  <a:cubicBezTo>
                    <a:pt x="890880" y="6706443"/>
                    <a:pt x="866986" y="6690318"/>
                    <a:pt x="870682" y="6655346"/>
                  </a:cubicBezTo>
                  <a:cubicBezTo>
                    <a:pt x="876846" y="6598274"/>
                    <a:pt x="889503" y="6540954"/>
                    <a:pt x="846442" y="6498594"/>
                  </a:cubicBezTo>
                  <a:cubicBezTo>
                    <a:pt x="862273" y="6487399"/>
                    <a:pt x="871751" y="6480449"/>
                    <a:pt x="881150" y="6473756"/>
                  </a:cubicBezTo>
                  <a:cubicBezTo>
                    <a:pt x="907245" y="6455292"/>
                    <a:pt x="930705" y="6407516"/>
                    <a:pt x="922470" y="6377035"/>
                  </a:cubicBezTo>
                  <a:cubicBezTo>
                    <a:pt x="910652" y="6332192"/>
                    <a:pt x="925705" y="6299028"/>
                    <a:pt x="955039" y="6268585"/>
                  </a:cubicBezTo>
                  <a:cubicBezTo>
                    <a:pt x="1003777" y="6217606"/>
                    <a:pt x="1017630" y="6148240"/>
                    <a:pt x="1024350" y="6083443"/>
                  </a:cubicBezTo>
                  <a:cubicBezTo>
                    <a:pt x="1029590" y="6034553"/>
                    <a:pt x="1028255" y="5980246"/>
                    <a:pt x="999696" y="5938416"/>
                  </a:cubicBezTo>
                  <a:cubicBezTo>
                    <a:pt x="990505" y="5925141"/>
                    <a:pt x="991039" y="5901884"/>
                    <a:pt x="988342" y="5882426"/>
                  </a:cubicBezTo>
                  <a:cubicBezTo>
                    <a:pt x="986229" y="5866254"/>
                    <a:pt x="984774" y="5849442"/>
                    <a:pt x="985444" y="5832438"/>
                  </a:cubicBezTo>
                  <a:cubicBezTo>
                    <a:pt x="986010" y="5814273"/>
                    <a:pt x="985042" y="5793656"/>
                    <a:pt x="992016" y="5777751"/>
                  </a:cubicBezTo>
                  <a:cubicBezTo>
                    <a:pt x="1012886" y="5729456"/>
                    <a:pt x="1014467" y="5686488"/>
                    <a:pt x="995028" y="5641832"/>
                  </a:cubicBezTo>
                  <a:cubicBezTo>
                    <a:pt x="984984" y="5618696"/>
                    <a:pt x="974301" y="5585771"/>
                    <a:pt x="981247" y="5562522"/>
                  </a:cubicBezTo>
                  <a:cubicBezTo>
                    <a:pt x="998041" y="5505913"/>
                    <a:pt x="997454" y="5454379"/>
                    <a:pt x="995131" y="5398075"/>
                  </a:cubicBezTo>
                  <a:cubicBezTo>
                    <a:pt x="993724" y="5361807"/>
                    <a:pt x="997229" y="5322258"/>
                    <a:pt x="997379" y="5283928"/>
                  </a:cubicBezTo>
                  <a:cubicBezTo>
                    <a:pt x="997473" y="5239095"/>
                    <a:pt x="1006631" y="5193105"/>
                    <a:pt x="979617" y="5157396"/>
                  </a:cubicBezTo>
                  <a:cubicBezTo>
                    <a:pt x="976728" y="5153402"/>
                    <a:pt x="978724" y="5144705"/>
                    <a:pt x="976441" y="5139485"/>
                  </a:cubicBezTo>
                  <a:cubicBezTo>
                    <a:pt x="969619" y="5122991"/>
                    <a:pt x="964828" y="5102888"/>
                    <a:pt x="953793" y="5091862"/>
                  </a:cubicBezTo>
                  <a:cubicBezTo>
                    <a:pt x="921506" y="5059884"/>
                    <a:pt x="886609" y="5031900"/>
                    <a:pt x="853056" y="5001787"/>
                  </a:cubicBezTo>
                  <a:cubicBezTo>
                    <a:pt x="845882" y="4995337"/>
                    <a:pt x="836325" y="4988437"/>
                    <a:pt x="833979" y="4978966"/>
                  </a:cubicBezTo>
                  <a:cubicBezTo>
                    <a:pt x="820602" y="4924328"/>
                    <a:pt x="808509" y="4869239"/>
                    <a:pt x="796995" y="4813768"/>
                  </a:cubicBezTo>
                  <a:cubicBezTo>
                    <a:pt x="792418" y="4791474"/>
                    <a:pt x="803209" y="4777314"/>
                    <a:pt x="820590" y="4764057"/>
                  </a:cubicBezTo>
                  <a:cubicBezTo>
                    <a:pt x="837188" y="4751123"/>
                    <a:pt x="855398" y="4734452"/>
                    <a:pt x="864688" y="4714752"/>
                  </a:cubicBezTo>
                  <a:cubicBezTo>
                    <a:pt x="883062" y="4675275"/>
                    <a:pt x="897521" y="4632902"/>
                    <a:pt x="910485" y="4590911"/>
                  </a:cubicBezTo>
                  <a:cubicBezTo>
                    <a:pt x="915338" y="4575199"/>
                    <a:pt x="912978" y="4556131"/>
                    <a:pt x="911445" y="4539571"/>
                  </a:cubicBezTo>
                  <a:cubicBezTo>
                    <a:pt x="908527" y="4508200"/>
                    <a:pt x="900999" y="4477659"/>
                    <a:pt x="900285" y="4445837"/>
                  </a:cubicBezTo>
                  <a:cubicBezTo>
                    <a:pt x="899539" y="4408923"/>
                    <a:pt x="887958" y="4383340"/>
                    <a:pt x="863237" y="4364703"/>
                  </a:cubicBezTo>
                  <a:cubicBezTo>
                    <a:pt x="826431" y="4336971"/>
                    <a:pt x="808536" y="4292507"/>
                    <a:pt x="798070" y="4243284"/>
                  </a:cubicBezTo>
                  <a:cubicBezTo>
                    <a:pt x="784617" y="4180721"/>
                    <a:pt x="805728" y="4117545"/>
                    <a:pt x="817097" y="4054750"/>
                  </a:cubicBezTo>
                  <a:cubicBezTo>
                    <a:pt x="821537" y="4030724"/>
                    <a:pt x="826632" y="4006057"/>
                    <a:pt x="826251" y="3982801"/>
                  </a:cubicBezTo>
                  <a:cubicBezTo>
                    <a:pt x="825347" y="3916709"/>
                    <a:pt x="825150" y="3850833"/>
                    <a:pt x="836848" y="3784939"/>
                  </a:cubicBezTo>
                  <a:lnTo>
                    <a:pt x="841285" y="3766755"/>
                  </a:lnTo>
                  <a:lnTo>
                    <a:pt x="841284" y="3766755"/>
                  </a:lnTo>
                  <a:lnTo>
                    <a:pt x="852925" y="3719034"/>
                  </a:lnTo>
                  <a:cubicBezTo>
                    <a:pt x="855152" y="3711822"/>
                    <a:pt x="856753" y="3704413"/>
                    <a:pt x="857932" y="3696880"/>
                  </a:cubicBezTo>
                  <a:cubicBezTo>
                    <a:pt x="868683" y="3631632"/>
                    <a:pt x="885300" y="3565939"/>
                    <a:pt x="853534" y="3507036"/>
                  </a:cubicBezTo>
                  <a:cubicBezTo>
                    <a:pt x="850623" y="3501622"/>
                    <a:pt x="849992" y="3494020"/>
                    <a:pt x="850226" y="3485839"/>
                  </a:cubicBezTo>
                  <a:close/>
                  <a:moveTo>
                    <a:pt x="0" y="0"/>
                  </a:moveTo>
                  <a:lnTo>
                    <a:pt x="455609" y="0"/>
                  </a:lnTo>
                  <a:lnTo>
                    <a:pt x="459171" y="72395"/>
                  </a:lnTo>
                  <a:cubicBezTo>
                    <a:pt x="459671" y="92301"/>
                    <a:pt x="456894" y="113171"/>
                    <a:pt x="460041" y="131917"/>
                  </a:cubicBezTo>
                  <a:cubicBezTo>
                    <a:pt x="474213" y="218122"/>
                    <a:pt x="492031" y="302910"/>
                    <a:pt x="504421" y="389691"/>
                  </a:cubicBezTo>
                  <a:cubicBezTo>
                    <a:pt x="517349" y="479177"/>
                    <a:pt x="539516" y="562489"/>
                    <a:pt x="582097" y="634609"/>
                  </a:cubicBezTo>
                  <a:cubicBezTo>
                    <a:pt x="621686" y="701573"/>
                    <a:pt x="662589" y="767248"/>
                    <a:pt x="702468" y="834019"/>
                  </a:cubicBezTo>
                  <a:cubicBezTo>
                    <a:pt x="712587" y="850968"/>
                    <a:pt x="725536" y="867665"/>
                    <a:pt x="729203" y="887701"/>
                  </a:cubicBezTo>
                  <a:cubicBezTo>
                    <a:pt x="736973" y="929321"/>
                    <a:pt x="740155" y="973193"/>
                    <a:pt x="743787" y="1016355"/>
                  </a:cubicBezTo>
                  <a:cubicBezTo>
                    <a:pt x="746786" y="1053398"/>
                    <a:pt x="745800" y="1091467"/>
                    <a:pt x="750083" y="1128060"/>
                  </a:cubicBezTo>
                  <a:cubicBezTo>
                    <a:pt x="753428" y="1157309"/>
                    <a:pt x="762038" y="1185083"/>
                    <a:pt x="768866" y="1213431"/>
                  </a:cubicBezTo>
                  <a:cubicBezTo>
                    <a:pt x="774767" y="1238107"/>
                    <a:pt x="778357" y="1264327"/>
                    <a:pt x="787802" y="1286432"/>
                  </a:cubicBezTo>
                  <a:cubicBezTo>
                    <a:pt x="810582" y="1340304"/>
                    <a:pt x="832653" y="1394242"/>
                    <a:pt x="842837" y="1455511"/>
                  </a:cubicBezTo>
                  <a:cubicBezTo>
                    <a:pt x="853049" y="1515944"/>
                    <a:pt x="867276" y="1574511"/>
                    <a:pt x="877988" y="1634814"/>
                  </a:cubicBezTo>
                  <a:cubicBezTo>
                    <a:pt x="888390" y="1693895"/>
                    <a:pt x="902813" y="1748857"/>
                    <a:pt x="941063" y="1789731"/>
                  </a:cubicBezTo>
                  <a:cubicBezTo>
                    <a:pt x="957906" y="1807908"/>
                    <a:pt x="975122" y="1831564"/>
                    <a:pt x="980124" y="1857657"/>
                  </a:cubicBezTo>
                  <a:cubicBezTo>
                    <a:pt x="987207" y="1894833"/>
                    <a:pt x="980788" y="1937150"/>
                    <a:pt x="984484" y="1976384"/>
                  </a:cubicBezTo>
                  <a:cubicBezTo>
                    <a:pt x="988781" y="2022576"/>
                    <a:pt x="988793" y="2074493"/>
                    <a:pt x="1007189" y="2110650"/>
                  </a:cubicBezTo>
                  <a:cubicBezTo>
                    <a:pt x="1023612" y="2142809"/>
                    <a:pt x="1034723" y="2173610"/>
                    <a:pt x="1039893" y="2211041"/>
                  </a:cubicBezTo>
                  <a:cubicBezTo>
                    <a:pt x="1043484" y="2237261"/>
                    <a:pt x="1057690" y="2260269"/>
                    <a:pt x="1059162" y="2286682"/>
                  </a:cubicBezTo>
                  <a:cubicBezTo>
                    <a:pt x="1061252" y="2321469"/>
                    <a:pt x="1060754" y="2355740"/>
                    <a:pt x="1070522" y="2388667"/>
                  </a:cubicBezTo>
                  <a:cubicBezTo>
                    <a:pt x="1080600" y="2422815"/>
                    <a:pt x="1085513" y="2459602"/>
                    <a:pt x="1093939" y="2494653"/>
                  </a:cubicBezTo>
                  <a:cubicBezTo>
                    <a:pt x="1098500" y="2513273"/>
                    <a:pt x="1106866" y="2529964"/>
                    <a:pt x="1112007" y="2548197"/>
                  </a:cubicBezTo>
                  <a:cubicBezTo>
                    <a:pt x="1121409" y="2581573"/>
                    <a:pt x="1130232" y="2615336"/>
                    <a:pt x="1138346" y="2649163"/>
                  </a:cubicBezTo>
                  <a:cubicBezTo>
                    <a:pt x="1146465" y="2682988"/>
                    <a:pt x="1157699" y="2716368"/>
                    <a:pt x="1160337" y="2751608"/>
                  </a:cubicBezTo>
                  <a:cubicBezTo>
                    <a:pt x="1164714" y="2811646"/>
                    <a:pt x="1159211" y="2873999"/>
                    <a:pt x="1165737" y="2933012"/>
                  </a:cubicBezTo>
                  <a:cubicBezTo>
                    <a:pt x="1172445" y="2992925"/>
                    <a:pt x="1185964" y="3051556"/>
                    <a:pt x="1202029" y="3107873"/>
                  </a:cubicBezTo>
                  <a:cubicBezTo>
                    <a:pt x="1214635" y="3152396"/>
                    <a:pt x="1227749" y="3194534"/>
                    <a:pt x="1225692" y="3244974"/>
                  </a:cubicBezTo>
                  <a:cubicBezTo>
                    <a:pt x="1224565" y="3273123"/>
                    <a:pt x="1231196" y="3305079"/>
                    <a:pt x="1243916" y="3326221"/>
                  </a:cubicBezTo>
                  <a:cubicBezTo>
                    <a:pt x="1271701" y="3372044"/>
                    <a:pt x="1285247" y="3423911"/>
                    <a:pt x="1293067" y="3480219"/>
                  </a:cubicBezTo>
                  <a:lnTo>
                    <a:pt x="1308071" y="3585182"/>
                  </a:lnTo>
                  <a:lnTo>
                    <a:pt x="1295962" y="3584708"/>
                  </a:lnTo>
                  <a:cubicBezTo>
                    <a:pt x="1237754" y="3586303"/>
                    <a:pt x="1180629" y="3594888"/>
                    <a:pt x="1118893" y="3568330"/>
                  </a:cubicBezTo>
                  <a:cubicBezTo>
                    <a:pt x="1113435" y="3565936"/>
                    <a:pt x="1102517" y="3567964"/>
                    <a:pt x="1094179" y="3567566"/>
                  </a:cubicBezTo>
                  <a:cubicBezTo>
                    <a:pt x="1027548" y="3564029"/>
                    <a:pt x="967064" y="3547281"/>
                    <a:pt x="922719" y="3516472"/>
                  </a:cubicBezTo>
                  <a:cubicBezTo>
                    <a:pt x="908178" y="3506414"/>
                    <a:pt x="892942" y="3497984"/>
                    <a:pt x="877028" y="3490955"/>
                  </a:cubicBezTo>
                  <a:lnTo>
                    <a:pt x="850533" y="3481837"/>
                  </a:lnTo>
                  <a:lnTo>
                    <a:pt x="852113" y="3461170"/>
                  </a:lnTo>
                  <a:cubicBezTo>
                    <a:pt x="854391" y="3434500"/>
                    <a:pt x="848474" y="3414331"/>
                    <a:pt x="831383" y="3399179"/>
                  </a:cubicBezTo>
                  <a:cubicBezTo>
                    <a:pt x="801767" y="3373388"/>
                    <a:pt x="773654" y="3344957"/>
                    <a:pt x="743141" y="3320580"/>
                  </a:cubicBezTo>
                  <a:cubicBezTo>
                    <a:pt x="722236" y="3303685"/>
                    <a:pt x="714543" y="3281842"/>
                    <a:pt x="713221" y="3251241"/>
                  </a:cubicBezTo>
                  <a:cubicBezTo>
                    <a:pt x="712555" y="3234106"/>
                    <a:pt x="704768" y="3217029"/>
                    <a:pt x="697098" y="3202528"/>
                  </a:cubicBezTo>
                  <a:cubicBezTo>
                    <a:pt x="687845" y="3184997"/>
                    <a:pt x="672212" y="3172554"/>
                    <a:pt x="664820" y="3154190"/>
                  </a:cubicBezTo>
                  <a:cubicBezTo>
                    <a:pt x="646169" y="3109209"/>
                    <a:pt x="616744" y="3087991"/>
                    <a:pt x="572501" y="3087312"/>
                  </a:cubicBezTo>
                  <a:cubicBezTo>
                    <a:pt x="533259" y="3086763"/>
                    <a:pt x="493731" y="3044085"/>
                    <a:pt x="497703" y="3005243"/>
                  </a:cubicBezTo>
                  <a:cubicBezTo>
                    <a:pt x="502030" y="2962279"/>
                    <a:pt x="490540" y="2928257"/>
                    <a:pt x="476984" y="2892751"/>
                  </a:cubicBezTo>
                  <a:cubicBezTo>
                    <a:pt x="469363" y="2872905"/>
                    <a:pt x="465404" y="2847135"/>
                    <a:pt x="468947" y="2824527"/>
                  </a:cubicBezTo>
                  <a:cubicBezTo>
                    <a:pt x="482188" y="2738605"/>
                    <a:pt x="520979" y="2665650"/>
                    <a:pt x="569138" y="2595026"/>
                  </a:cubicBezTo>
                  <a:cubicBezTo>
                    <a:pt x="600577" y="2548865"/>
                    <a:pt x="622260" y="2493483"/>
                    <a:pt x="645397" y="2440808"/>
                  </a:cubicBezTo>
                  <a:cubicBezTo>
                    <a:pt x="652529" y="2424387"/>
                    <a:pt x="655029" y="2401457"/>
                    <a:pt x="651820" y="2384384"/>
                  </a:cubicBezTo>
                  <a:cubicBezTo>
                    <a:pt x="640949" y="2324596"/>
                    <a:pt x="629163" y="2264805"/>
                    <a:pt x="612994" y="2207332"/>
                  </a:cubicBezTo>
                  <a:cubicBezTo>
                    <a:pt x="597678" y="2153787"/>
                    <a:pt x="601053" y="2099808"/>
                    <a:pt x="620894" y="2046679"/>
                  </a:cubicBezTo>
                  <a:cubicBezTo>
                    <a:pt x="635367" y="2007977"/>
                    <a:pt x="641110" y="1970814"/>
                    <a:pt x="644614" y="1931265"/>
                  </a:cubicBezTo>
                  <a:cubicBezTo>
                    <a:pt x="647465" y="1898285"/>
                    <a:pt x="653360" y="1862859"/>
                    <a:pt x="665994" y="1832337"/>
                  </a:cubicBezTo>
                  <a:cubicBezTo>
                    <a:pt x="683779" y="1789578"/>
                    <a:pt x="688928" y="1751381"/>
                    <a:pt x="678276" y="1709437"/>
                  </a:cubicBezTo>
                  <a:cubicBezTo>
                    <a:pt x="672576" y="1687079"/>
                    <a:pt x="673987" y="1660990"/>
                    <a:pt x="672955" y="1636123"/>
                  </a:cubicBezTo>
                  <a:cubicBezTo>
                    <a:pt x="671272" y="1597795"/>
                    <a:pt x="671867" y="1558758"/>
                    <a:pt x="668480" y="1520749"/>
                  </a:cubicBezTo>
                  <a:cubicBezTo>
                    <a:pt x="665050" y="1479903"/>
                    <a:pt x="655019" y="1440408"/>
                    <a:pt x="653920" y="1399437"/>
                  </a:cubicBezTo>
                  <a:cubicBezTo>
                    <a:pt x="652652" y="1355309"/>
                    <a:pt x="639893" y="1323154"/>
                    <a:pt x="612686" y="1296979"/>
                  </a:cubicBezTo>
                  <a:cubicBezTo>
                    <a:pt x="595576" y="1280408"/>
                    <a:pt x="578401" y="1259588"/>
                    <a:pt x="570220" y="1235618"/>
                  </a:cubicBezTo>
                  <a:cubicBezTo>
                    <a:pt x="553631" y="1186194"/>
                    <a:pt x="545669" y="1131821"/>
                    <a:pt x="529736" y="1081752"/>
                  </a:cubicBezTo>
                  <a:cubicBezTo>
                    <a:pt x="507466" y="1011390"/>
                    <a:pt x="481332" y="944631"/>
                    <a:pt x="414305" y="918292"/>
                  </a:cubicBezTo>
                  <a:cubicBezTo>
                    <a:pt x="377314" y="903769"/>
                    <a:pt x="368843" y="874065"/>
                    <a:pt x="373924" y="825689"/>
                  </a:cubicBezTo>
                  <a:cubicBezTo>
                    <a:pt x="375689" y="809590"/>
                    <a:pt x="376722" y="786203"/>
                    <a:pt x="368949" y="778726"/>
                  </a:cubicBezTo>
                  <a:cubicBezTo>
                    <a:pt x="345838" y="756354"/>
                    <a:pt x="349308" y="725824"/>
                    <a:pt x="347020" y="694643"/>
                  </a:cubicBezTo>
                  <a:cubicBezTo>
                    <a:pt x="345704" y="675894"/>
                    <a:pt x="339306" y="651346"/>
                    <a:pt x="327478" y="642898"/>
                  </a:cubicBezTo>
                  <a:cubicBezTo>
                    <a:pt x="279698" y="608395"/>
                    <a:pt x="263590" y="549247"/>
                    <a:pt x="243468" y="491960"/>
                  </a:cubicBezTo>
                  <a:cubicBezTo>
                    <a:pt x="237433" y="475142"/>
                    <a:pt x="230250" y="456843"/>
                    <a:pt x="218930" y="446010"/>
                  </a:cubicBezTo>
                  <a:cubicBezTo>
                    <a:pt x="194433" y="422927"/>
                    <a:pt x="180036" y="395344"/>
                    <a:pt x="180614" y="354892"/>
                  </a:cubicBezTo>
                  <a:cubicBezTo>
                    <a:pt x="180923" y="342010"/>
                    <a:pt x="176523" y="328798"/>
                    <a:pt x="171988" y="317521"/>
                  </a:cubicBezTo>
                  <a:cubicBezTo>
                    <a:pt x="162052" y="293291"/>
                    <a:pt x="148442" y="271315"/>
                    <a:pt x="139875" y="246378"/>
                  </a:cubicBezTo>
                  <a:cubicBezTo>
                    <a:pt x="117577" y="182780"/>
                    <a:pt x="95749" y="119890"/>
                    <a:pt x="51499" y="73211"/>
                  </a:cubicBezTo>
                  <a:cubicBezTo>
                    <a:pt x="40691" y="61834"/>
                    <a:pt x="29467" y="49763"/>
                    <a:pt x="19690" y="36621"/>
                  </a:cubicBezTo>
                  <a:close/>
                </a:path>
              </a:pathLst>
            </a:custGeom>
            <a:blipFill dpi="0" rotWithShape="1">
              <a:blip r:embed="rId3">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1680378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C1BBC-D3FC-3B6C-3624-26B261316E21}"/>
              </a:ext>
            </a:extLst>
          </p:cNvPr>
          <p:cNvSpPr>
            <a:spLocks noGrp="1"/>
          </p:cNvSpPr>
          <p:nvPr>
            <p:ph type="title"/>
          </p:nvPr>
        </p:nvSpPr>
        <p:spPr/>
        <p:txBody>
          <a:bodyPr/>
          <a:lstStyle/>
          <a:p>
            <a:r>
              <a:rPr lang="en-US" dirty="0"/>
              <a:t>Declaration of Interdependence for Agile Leadership</a:t>
            </a:r>
          </a:p>
        </p:txBody>
      </p:sp>
      <p:sp>
        <p:nvSpPr>
          <p:cNvPr id="3" name="Content Placeholder 2">
            <a:extLst>
              <a:ext uri="{FF2B5EF4-FFF2-40B4-BE49-F238E27FC236}">
                <a16:creationId xmlns:a16="http://schemas.microsoft.com/office/drawing/2014/main" id="{27B481B2-8C6D-6AE3-6284-EBCFDFD339D8}"/>
              </a:ext>
            </a:extLst>
          </p:cNvPr>
          <p:cNvSpPr>
            <a:spLocks noGrp="1"/>
          </p:cNvSpPr>
          <p:nvPr>
            <p:ph idx="1"/>
          </p:nvPr>
        </p:nvSpPr>
        <p:spPr>
          <a:xfrm>
            <a:off x="838200" y="1578075"/>
            <a:ext cx="10515600" cy="4694750"/>
          </a:xfrm>
        </p:spPr>
        <p:txBody>
          <a:bodyPr>
            <a:normAutofit fontScale="85000" lnSpcReduction="10000"/>
          </a:bodyPr>
          <a:lstStyle/>
          <a:p>
            <a:pPr marL="0" indent="0" algn="l" fontAlgn="base">
              <a:buNone/>
            </a:pPr>
            <a:r>
              <a:rPr lang="en-US" b="0" i="0" dirty="0">
                <a:solidFill>
                  <a:srgbClr val="14261C"/>
                </a:solidFill>
                <a:effectLst/>
                <a:latin typeface="Roboto" panose="02000000000000000000" pitchFamily="2" charset="0"/>
              </a:rPr>
              <a:t>We …</a:t>
            </a:r>
          </a:p>
          <a:p>
            <a:pPr lvl="1" fontAlgn="base"/>
            <a:r>
              <a:rPr lang="en-US" b="1" i="0" dirty="0">
                <a:solidFill>
                  <a:srgbClr val="FF0000"/>
                </a:solidFill>
                <a:effectLst/>
                <a:latin typeface="Roboto" panose="02000000000000000000" pitchFamily="2" charset="0"/>
              </a:rPr>
              <a:t>increase return on investment by — making continuous flow of value our focus.</a:t>
            </a:r>
          </a:p>
          <a:p>
            <a:pPr lvl="1" fontAlgn="base"/>
            <a:r>
              <a:rPr lang="en-US" b="0" i="0" dirty="0">
                <a:solidFill>
                  <a:srgbClr val="14261C"/>
                </a:solidFill>
                <a:effectLst/>
                <a:latin typeface="Roboto" panose="02000000000000000000" pitchFamily="2" charset="0"/>
              </a:rPr>
              <a:t>deliver reliable results by — engaging customers in frequent interactions and shared ownership.</a:t>
            </a:r>
          </a:p>
          <a:p>
            <a:pPr lvl="1" fontAlgn="base"/>
            <a:r>
              <a:rPr lang="en-US" b="0" i="0" dirty="0">
                <a:solidFill>
                  <a:srgbClr val="14261C"/>
                </a:solidFill>
                <a:effectLst/>
                <a:latin typeface="Roboto" panose="02000000000000000000" pitchFamily="2" charset="0"/>
              </a:rPr>
              <a:t>expect uncertainty and manage for it through — iterations, anticipation and adaptation.</a:t>
            </a:r>
          </a:p>
          <a:p>
            <a:pPr lvl="1" fontAlgn="base"/>
            <a:r>
              <a:rPr lang="en-US" b="0" i="0" dirty="0">
                <a:solidFill>
                  <a:srgbClr val="14261C"/>
                </a:solidFill>
                <a:effectLst/>
                <a:latin typeface="Roboto" panose="02000000000000000000" pitchFamily="2" charset="0"/>
              </a:rPr>
              <a:t>unleash creativity and innovation by — recognizing that individuals are the ultimate source of value, and creating an environment where they can make a difference.</a:t>
            </a:r>
          </a:p>
          <a:p>
            <a:pPr lvl="1" fontAlgn="base"/>
            <a:r>
              <a:rPr lang="en-US" b="0" i="0" dirty="0">
                <a:solidFill>
                  <a:srgbClr val="14261C"/>
                </a:solidFill>
                <a:effectLst/>
                <a:latin typeface="Roboto" panose="02000000000000000000" pitchFamily="2" charset="0"/>
              </a:rPr>
              <a:t>boost performance through — group accountability for results and shared responsibility for team effectiveness.</a:t>
            </a:r>
          </a:p>
          <a:p>
            <a:pPr lvl="1" fontAlgn="base"/>
            <a:r>
              <a:rPr lang="en-US" b="0" i="0" dirty="0">
                <a:solidFill>
                  <a:srgbClr val="14261C"/>
                </a:solidFill>
                <a:effectLst/>
                <a:latin typeface="Roboto" panose="02000000000000000000" pitchFamily="2" charset="0"/>
              </a:rPr>
              <a:t>improve effectiveness and reliability through — situationally specific strategies, processes and practices.”</a:t>
            </a:r>
          </a:p>
          <a:p>
            <a:pPr algn="l" fontAlgn="base">
              <a:buFont typeface="Arial" panose="020B0604020202020204" pitchFamily="34" charset="0"/>
              <a:buChar char="•"/>
            </a:pPr>
            <a:endParaRPr lang="en-US" dirty="0">
              <a:solidFill>
                <a:srgbClr val="14261C"/>
              </a:solidFill>
              <a:latin typeface="Roboto" panose="02000000000000000000" pitchFamily="2" charset="0"/>
            </a:endParaRPr>
          </a:p>
          <a:p>
            <a:pPr marL="0" indent="0" algn="l" fontAlgn="base">
              <a:buNone/>
            </a:pPr>
            <a:r>
              <a:rPr lang="en-US" sz="2100" b="0" i="0" dirty="0">
                <a:solidFill>
                  <a:srgbClr val="000000"/>
                </a:solidFill>
                <a:effectLst/>
                <a:latin typeface="-apple-system"/>
              </a:rPr>
              <a:t>©2005 David Anderson, Sanjiv Augustine, Christopher Avery, Alistair Cockburn, Mike Cohn, Doug DeCarlo, Donna Fitzgerald, Jim Highsmith, Ole Jepsen, Lowell Lindstrom, Todd Little, Kent McDonald, Pollyanna Pixton, Preston Smith and Robert Wysocki.</a:t>
            </a:r>
            <a:endParaRPr lang="en-US" sz="2100" b="0" i="0" dirty="0">
              <a:solidFill>
                <a:srgbClr val="14261C"/>
              </a:solidFill>
              <a:effectLst/>
              <a:latin typeface="Roboto" panose="02000000000000000000" pitchFamily="2" charset="0"/>
            </a:endParaRPr>
          </a:p>
          <a:p>
            <a:endParaRPr lang="en-US" dirty="0"/>
          </a:p>
        </p:txBody>
      </p:sp>
      <p:sp>
        <p:nvSpPr>
          <p:cNvPr id="4" name="Slide Number Placeholder 3">
            <a:extLst>
              <a:ext uri="{FF2B5EF4-FFF2-40B4-BE49-F238E27FC236}">
                <a16:creationId xmlns:a16="http://schemas.microsoft.com/office/drawing/2014/main" id="{350D32E4-DD81-5916-2CC1-D1C405BD360C}"/>
              </a:ext>
            </a:extLst>
          </p:cNvPr>
          <p:cNvSpPr>
            <a:spLocks noGrp="1"/>
          </p:cNvSpPr>
          <p:nvPr>
            <p:ph type="sldNum" sz="quarter" idx="12"/>
          </p:nvPr>
        </p:nvSpPr>
        <p:spPr/>
        <p:txBody>
          <a:bodyPr/>
          <a:lstStyle/>
          <a:p>
            <a:fld id="{2392DDAE-9823-6946-874E-259A5CB9452D}" type="slidenum">
              <a:rPr lang="en-US" smtClean="0"/>
              <a:t>27</a:t>
            </a:fld>
            <a:endParaRPr lang="en-US"/>
          </a:p>
        </p:txBody>
      </p:sp>
    </p:spTree>
    <p:extLst>
      <p:ext uri="{BB962C8B-B14F-4D97-AF65-F5344CB8AC3E}">
        <p14:creationId xmlns:p14="http://schemas.microsoft.com/office/powerpoint/2010/main" val="2754360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4927-E6FA-AE22-E99C-17B4F707C199}"/>
              </a:ext>
            </a:extLst>
          </p:cNvPr>
          <p:cNvSpPr>
            <a:spLocks noGrp="1"/>
          </p:cNvSpPr>
          <p:nvPr>
            <p:ph type="title"/>
          </p:nvPr>
        </p:nvSpPr>
        <p:spPr/>
        <p:txBody>
          <a:bodyPr/>
          <a:lstStyle/>
          <a:p>
            <a:r>
              <a:rPr lang="en-US" dirty="0"/>
              <a:t>Lean Decision Filter</a:t>
            </a:r>
          </a:p>
        </p:txBody>
      </p:sp>
      <p:sp>
        <p:nvSpPr>
          <p:cNvPr id="3" name="Content Placeholder 2">
            <a:extLst>
              <a:ext uri="{FF2B5EF4-FFF2-40B4-BE49-F238E27FC236}">
                <a16:creationId xmlns:a16="http://schemas.microsoft.com/office/drawing/2014/main" id="{C7605A26-23CC-CED3-6F55-33D249FC39F1}"/>
              </a:ext>
            </a:extLst>
          </p:cNvPr>
          <p:cNvSpPr>
            <a:spLocks noGrp="1"/>
          </p:cNvSpPr>
          <p:nvPr>
            <p:ph idx="1"/>
          </p:nvPr>
        </p:nvSpPr>
        <p:spPr/>
        <p:txBody>
          <a:bodyPr/>
          <a:lstStyle/>
          <a:p>
            <a:pPr algn="l">
              <a:spcBef>
                <a:spcPts val="600"/>
              </a:spcBef>
              <a:spcAft>
                <a:spcPts val="600"/>
              </a:spcAft>
              <a:buFont typeface="Arial" panose="020B0604020202020204" pitchFamily="34" charset="0"/>
              <a:buChar char="•"/>
            </a:pPr>
            <a:r>
              <a:rPr lang="en-US" b="1" i="0" dirty="0">
                <a:solidFill>
                  <a:srgbClr val="000000"/>
                </a:solidFill>
                <a:effectLst/>
                <a:latin typeface="Heavy"/>
              </a:rPr>
              <a:t>Value trumps flow</a:t>
            </a:r>
            <a:r>
              <a:rPr lang="en-US" b="0" i="0" dirty="0">
                <a:solidFill>
                  <a:srgbClr val="000000"/>
                </a:solidFill>
                <a:effectLst/>
                <a:latin typeface="Heavy"/>
              </a:rPr>
              <a:t>:</a:t>
            </a:r>
            <a:r>
              <a:rPr lang="en-US" b="0" i="0" dirty="0">
                <a:solidFill>
                  <a:srgbClr val="000000"/>
                </a:solidFill>
                <a:effectLst/>
                <a:latin typeface="Regular"/>
              </a:rPr>
              <a:t> Expedite at the expense of flow to maximize value.</a:t>
            </a:r>
          </a:p>
          <a:p>
            <a:pPr algn="l">
              <a:spcBef>
                <a:spcPts val="600"/>
              </a:spcBef>
              <a:spcAft>
                <a:spcPts val="600"/>
              </a:spcAft>
              <a:buFont typeface="Arial" panose="020B0604020202020204" pitchFamily="34" charset="0"/>
              <a:buChar char="•"/>
            </a:pPr>
            <a:r>
              <a:rPr lang="en-US" b="1" i="0" dirty="0">
                <a:solidFill>
                  <a:srgbClr val="000000"/>
                </a:solidFill>
                <a:effectLst/>
                <a:latin typeface="Heavy"/>
              </a:rPr>
              <a:t>Flow trumps waste elimination</a:t>
            </a:r>
            <a:r>
              <a:rPr lang="en-US" b="0" i="0" dirty="0">
                <a:solidFill>
                  <a:srgbClr val="000000"/>
                </a:solidFill>
                <a:effectLst/>
                <a:latin typeface="Heavy"/>
              </a:rPr>
              <a:t>:</a:t>
            </a:r>
            <a:r>
              <a:rPr lang="en-US" b="0" i="0" dirty="0">
                <a:solidFill>
                  <a:srgbClr val="000000"/>
                </a:solidFill>
                <a:effectLst/>
                <a:latin typeface="Regular"/>
              </a:rPr>
              <a:t>  Increase WIP if required to maintain flow, even though it will add waste.</a:t>
            </a:r>
          </a:p>
          <a:p>
            <a:pPr algn="l">
              <a:spcBef>
                <a:spcPts val="600"/>
              </a:spcBef>
              <a:spcAft>
                <a:spcPts val="600"/>
              </a:spcAft>
              <a:buFont typeface="Arial" panose="020B0604020202020204" pitchFamily="34" charset="0"/>
              <a:buChar char="•"/>
            </a:pPr>
            <a:r>
              <a:rPr lang="en-US" b="1" i="0" dirty="0">
                <a:solidFill>
                  <a:srgbClr val="000000"/>
                </a:solidFill>
                <a:effectLst/>
                <a:latin typeface="Heavy"/>
              </a:rPr>
              <a:t>Eliminate waste to improve efficiency</a:t>
            </a:r>
            <a:r>
              <a:rPr lang="en-US" b="0" i="0" dirty="0">
                <a:solidFill>
                  <a:srgbClr val="000000"/>
                </a:solidFill>
                <a:effectLst/>
                <a:latin typeface="Heavy"/>
              </a:rPr>
              <a:t>:</a:t>
            </a:r>
            <a:r>
              <a:rPr lang="en-US" b="0" i="0" dirty="0">
                <a:solidFill>
                  <a:srgbClr val="000000"/>
                </a:solidFill>
                <a:effectLst/>
                <a:latin typeface="Regular"/>
              </a:rPr>
              <a:t> Do not pursue economy of scale.</a:t>
            </a:r>
          </a:p>
          <a:p>
            <a:endParaRPr lang="en-US" dirty="0"/>
          </a:p>
        </p:txBody>
      </p:sp>
      <p:sp>
        <p:nvSpPr>
          <p:cNvPr id="4" name="Slide Number Placeholder 3">
            <a:extLst>
              <a:ext uri="{FF2B5EF4-FFF2-40B4-BE49-F238E27FC236}">
                <a16:creationId xmlns:a16="http://schemas.microsoft.com/office/drawing/2014/main" id="{46FD650E-6A5C-581A-D344-A26B1816B1FB}"/>
              </a:ext>
            </a:extLst>
          </p:cNvPr>
          <p:cNvSpPr>
            <a:spLocks noGrp="1"/>
          </p:cNvSpPr>
          <p:nvPr>
            <p:ph type="sldNum" sz="quarter" idx="12"/>
          </p:nvPr>
        </p:nvSpPr>
        <p:spPr/>
        <p:txBody>
          <a:bodyPr/>
          <a:lstStyle/>
          <a:p>
            <a:fld id="{2392DDAE-9823-6946-874E-259A5CB9452D}" type="slidenum">
              <a:rPr lang="en-US" smtClean="0"/>
              <a:t>28</a:t>
            </a:fld>
            <a:endParaRPr lang="en-US"/>
          </a:p>
        </p:txBody>
      </p:sp>
    </p:spTree>
    <p:extLst>
      <p:ext uri="{BB962C8B-B14F-4D97-AF65-F5344CB8AC3E}">
        <p14:creationId xmlns:p14="http://schemas.microsoft.com/office/powerpoint/2010/main" val="8910964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94560-A2D7-D4B0-3166-E5DCD8353369}"/>
              </a:ext>
            </a:extLst>
          </p:cNvPr>
          <p:cNvSpPr>
            <a:spLocks noGrp="1"/>
          </p:cNvSpPr>
          <p:nvPr>
            <p:ph type="title"/>
          </p:nvPr>
        </p:nvSpPr>
        <p:spPr/>
        <p:txBody>
          <a:bodyPr/>
          <a:lstStyle/>
          <a:p>
            <a:r>
              <a:rPr lang="en-US" dirty="0"/>
              <a:t>Discovery has Value of Information</a:t>
            </a:r>
          </a:p>
        </p:txBody>
      </p:sp>
      <p:pic>
        <p:nvPicPr>
          <p:cNvPr id="6" name="Content Placeholder 5" descr="A child looking through a magnifying glass&#10;&#10;Description automatically generated">
            <a:extLst>
              <a:ext uri="{FF2B5EF4-FFF2-40B4-BE49-F238E27FC236}">
                <a16:creationId xmlns:a16="http://schemas.microsoft.com/office/drawing/2014/main" id="{2DBEC50F-0E2A-B83D-61EB-9E9BC86DCCDB}"/>
              </a:ext>
            </a:extLst>
          </p:cNvPr>
          <p:cNvPicPr>
            <a:picLocks noGrp="1" noChangeAspect="1"/>
          </p:cNvPicPr>
          <p:nvPr>
            <p:ph idx="1"/>
          </p:nvPr>
        </p:nvPicPr>
        <p:blipFill>
          <a:blip r:embed="rId2"/>
          <a:stretch>
            <a:fillRect/>
          </a:stretch>
        </p:blipFill>
        <p:spPr>
          <a:xfrm>
            <a:off x="1198354" y="1533832"/>
            <a:ext cx="7137925" cy="4758616"/>
          </a:xfrm>
        </p:spPr>
      </p:pic>
      <p:sp>
        <p:nvSpPr>
          <p:cNvPr id="4" name="Slide Number Placeholder 3">
            <a:extLst>
              <a:ext uri="{FF2B5EF4-FFF2-40B4-BE49-F238E27FC236}">
                <a16:creationId xmlns:a16="http://schemas.microsoft.com/office/drawing/2014/main" id="{6DF1865A-8F20-2E93-18A3-67423C31B008}"/>
              </a:ext>
            </a:extLst>
          </p:cNvPr>
          <p:cNvSpPr>
            <a:spLocks noGrp="1"/>
          </p:cNvSpPr>
          <p:nvPr>
            <p:ph type="sldNum" sz="quarter" idx="12"/>
          </p:nvPr>
        </p:nvSpPr>
        <p:spPr/>
        <p:txBody>
          <a:bodyPr/>
          <a:lstStyle/>
          <a:p>
            <a:fld id="{2392DDAE-9823-6946-874E-259A5CB9452D}" type="slidenum">
              <a:rPr lang="en-US" smtClean="0"/>
              <a:t>29</a:t>
            </a:fld>
            <a:endParaRPr lang="en-US"/>
          </a:p>
        </p:txBody>
      </p:sp>
    </p:spTree>
    <p:extLst>
      <p:ext uri="{BB962C8B-B14F-4D97-AF65-F5344CB8AC3E}">
        <p14:creationId xmlns:p14="http://schemas.microsoft.com/office/powerpoint/2010/main" val="1885848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F3AE3D-C988-FB70-887E-7AB67D8C1EB5}"/>
              </a:ext>
            </a:extLst>
          </p:cNvPr>
          <p:cNvSpPr>
            <a:spLocks noGrp="1"/>
          </p:cNvSpPr>
          <p:nvPr>
            <p:ph type="body" sz="quarter" idx="13"/>
          </p:nvPr>
        </p:nvSpPr>
        <p:spPr/>
        <p:txBody>
          <a:bodyPr>
            <a:normAutofit fontScale="77500" lnSpcReduction="20000"/>
          </a:bodyPr>
          <a:lstStyle/>
          <a:p>
            <a:pPr marL="685800" indent="-685800">
              <a:buFont typeface="Arial" panose="020B0604020202020204" pitchFamily="34" charset="0"/>
              <a:buChar char="•"/>
            </a:pPr>
            <a:r>
              <a:rPr lang="en-US" dirty="0"/>
              <a:t>Freddie Mac let go of 75 scrum masters</a:t>
            </a:r>
          </a:p>
          <a:p>
            <a:pPr marL="685800" indent="-685800">
              <a:buFont typeface="Arial" panose="020B0604020202020204" pitchFamily="34" charset="0"/>
              <a:buChar char="•"/>
            </a:pPr>
            <a:r>
              <a:rPr lang="en-US" dirty="0"/>
              <a:t>Target’s coaching team was informed that we are being laid off. </a:t>
            </a:r>
          </a:p>
        </p:txBody>
      </p:sp>
      <p:sp>
        <p:nvSpPr>
          <p:cNvPr id="3" name="Text Placeholder 2">
            <a:extLst>
              <a:ext uri="{FF2B5EF4-FFF2-40B4-BE49-F238E27FC236}">
                <a16:creationId xmlns:a16="http://schemas.microsoft.com/office/drawing/2014/main" id="{2CFB1BF6-0854-2E52-BC84-B93E55404548}"/>
              </a:ext>
            </a:extLst>
          </p:cNvPr>
          <p:cNvSpPr>
            <a:spLocks noGrp="1"/>
          </p:cNvSpPr>
          <p:nvPr>
            <p:ph type="body" sz="quarter" idx="14"/>
          </p:nvPr>
        </p:nvSpPr>
        <p:spPr/>
        <p:txBody>
          <a:bodyPr/>
          <a:lstStyle/>
          <a:p>
            <a:endParaRPr lang="en-US"/>
          </a:p>
        </p:txBody>
      </p:sp>
      <p:sp>
        <p:nvSpPr>
          <p:cNvPr id="4" name="Slide Number Placeholder 3">
            <a:extLst>
              <a:ext uri="{FF2B5EF4-FFF2-40B4-BE49-F238E27FC236}">
                <a16:creationId xmlns:a16="http://schemas.microsoft.com/office/drawing/2014/main" id="{B578F038-A8A9-791E-C50A-DB18885D9AA8}"/>
              </a:ext>
            </a:extLst>
          </p:cNvPr>
          <p:cNvSpPr>
            <a:spLocks noGrp="1"/>
          </p:cNvSpPr>
          <p:nvPr>
            <p:ph type="sldNum" sz="quarter" idx="16"/>
          </p:nvPr>
        </p:nvSpPr>
        <p:spPr/>
        <p:txBody>
          <a:bodyPr/>
          <a:lstStyle/>
          <a:p>
            <a:fld id="{C35D1307-4518-DC49-A96C-7B35E51C61C4}" type="slidenum">
              <a:rPr lang="en-US" noProof="0" smtClean="0"/>
              <a:pPr/>
              <a:t>3</a:t>
            </a:fld>
            <a:endParaRPr lang="en-US" noProof="0"/>
          </a:p>
        </p:txBody>
      </p:sp>
    </p:spTree>
    <p:extLst>
      <p:ext uri="{BB962C8B-B14F-4D97-AF65-F5344CB8AC3E}">
        <p14:creationId xmlns:p14="http://schemas.microsoft.com/office/powerpoint/2010/main" val="12353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EBFEC-C5D0-B8FB-3064-5E9E9220AF95}"/>
              </a:ext>
            </a:extLst>
          </p:cNvPr>
          <p:cNvSpPr>
            <a:spLocks noGrp="1"/>
          </p:cNvSpPr>
          <p:nvPr>
            <p:ph type="title"/>
          </p:nvPr>
        </p:nvSpPr>
        <p:spPr/>
        <p:txBody>
          <a:bodyPr/>
          <a:lstStyle/>
          <a:p>
            <a:r>
              <a:rPr lang="en-US" dirty="0"/>
              <a:t>Does Kanban go down with the Ship?</a:t>
            </a:r>
          </a:p>
        </p:txBody>
      </p:sp>
      <p:pic>
        <p:nvPicPr>
          <p:cNvPr id="6" name="Content Placeholder 5" descr="A ship in the water with smoke coming out of it">
            <a:extLst>
              <a:ext uri="{FF2B5EF4-FFF2-40B4-BE49-F238E27FC236}">
                <a16:creationId xmlns:a16="http://schemas.microsoft.com/office/drawing/2014/main" id="{29E741ED-F091-9CC8-E3B5-B8A55E3F57C6}"/>
              </a:ext>
            </a:extLst>
          </p:cNvPr>
          <p:cNvPicPr>
            <a:picLocks noGrp="1" noChangeAspect="1"/>
          </p:cNvPicPr>
          <p:nvPr>
            <p:ph idx="1"/>
          </p:nvPr>
        </p:nvPicPr>
        <p:blipFill>
          <a:blip r:embed="rId2"/>
          <a:stretch>
            <a:fillRect/>
          </a:stretch>
        </p:blipFill>
        <p:spPr>
          <a:xfrm>
            <a:off x="1511691" y="1464413"/>
            <a:ext cx="8663940" cy="4847755"/>
          </a:xfrm>
        </p:spPr>
      </p:pic>
      <p:sp>
        <p:nvSpPr>
          <p:cNvPr id="4" name="Slide Number Placeholder 3">
            <a:extLst>
              <a:ext uri="{FF2B5EF4-FFF2-40B4-BE49-F238E27FC236}">
                <a16:creationId xmlns:a16="http://schemas.microsoft.com/office/drawing/2014/main" id="{4B0D7C9F-6E97-BFCD-5056-2FCA211B4837}"/>
              </a:ext>
            </a:extLst>
          </p:cNvPr>
          <p:cNvSpPr>
            <a:spLocks noGrp="1"/>
          </p:cNvSpPr>
          <p:nvPr>
            <p:ph type="sldNum" sz="quarter" idx="12"/>
          </p:nvPr>
        </p:nvSpPr>
        <p:spPr/>
        <p:txBody>
          <a:bodyPr/>
          <a:lstStyle/>
          <a:p>
            <a:fld id="{2392DDAE-9823-6946-874E-259A5CB9452D}" type="slidenum">
              <a:rPr lang="en-US" smtClean="0"/>
              <a:t>30</a:t>
            </a:fld>
            <a:endParaRPr lang="en-US"/>
          </a:p>
        </p:txBody>
      </p:sp>
      <p:sp>
        <p:nvSpPr>
          <p:cNvPr id="7" name="TextBox 6">
            <a:extLst>
              <a:ext uri="{FF2B5EF4-FFF2-40B4-BE49-F238E27FC236}">
                <a16:creationId xmlns:a16="http://schemas.microsoft.com/office/drawing/2014/main" id="{7D23AF8F-9930-1100-DD20-04A70FDFD293}"/>
              </a:ext>
            </a:extLst>
          </p:cNvPr>
          <p:cNvSpPr txBox="1"/>
          <p:nvPr/>
        </p:nvSpPr>
        <p:spPr>
          <a:xfrm>
            <a:off x="7772399" y="4888524"/>
            <a:ext cx="1722120" cy="369332"/>
          </a:xfrm>
          <a:prstGeom prst="rect">
            <a:avLst/>
          </a:prstGeom>
          <a:noFill/>
        </p:spPr>
        <p:txBody>
          <a:bodyPr wrap="square" rtlCol="0">
            <a:spAutoFit/>
          </a:bodyPr>
          <a:lstStyle/>
          <a:p>
            <a:r>
              <a:rPr lang="en-US" dirty="0">
                <a:solidFill>
                  <a:schemeClr val="bg1"/>
                </a:solidFill>
              </a:rPr>
              <a:t>Kanban</a:t>
            </a:r>
          </a:p>
        </p:txBody>
      </p:sp>
      <p:sp>
        <p:nvSpPr>
          <p:cNvPr id="8" name="TextBox 7">
            <a:extLst>
              <a:ext uri="{FF2B5EF4-FFF2-40B4-BE49-F238E27FC236}">
                <a16:creationId xmlns:a16="http://schemas.microsoft.com/office/drawing/2014/main" id="{CCB0A818-2056-DC9D-E242-FC25AD22468D}"/>
              </a:ext>
            </a:extLst>
          </p:cNvPr>
          <p:cNvSpPr txBox="1"/>
          <p:nvPr/>
        </p:nvSpPr>
        <p:spPr>
          <a:xfrm rot="20723071">
            <a:off x="5427330" y="3898679"/>
            <a:ext cx="1946030" cy="369332"/>
          </a:xfrm>
          <a:prstGeom prst="rect">
            <a:avLst/>
          </a:prstGeom>
          <a:noFill/>
        </p:spPr>
        <p:txBody>
          <a:bodyPr wrap="square" rtlCol="0">
            <a:spAutoFit/>
          </a:bodyPr>
          <a:lstStyle/>
          <a:p>
            <a:r>
              <a:rPr lang="en-US" dirty="0">
                <a:solidFill>
                  <a:schemeClr val="bg1"/>
                </a:solidFill>
              </a:rPr>
              <a:t>SS Agile</a:t>
            </a:r>
          </a:p>
        </p:txBody>
      </p:sp>
    </p:spTree>
    <p:extLst>
      <p:ext uri="{BB962C8B-B14F-4D97-AF65-F5344CB8AC3E}">
        <p14:creationId xmlns:p14="http://schemas.microsoft.com/office/powerpoint/2010/main" val="42831234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ADF-57FF-6EAB-B6EC-9EF7AC956475}"/>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F008394B-44E1-C6C9-7C99-76E847B36CC1}"/>
              </a:ext>
            </a:extLst>
          </p:cNvPr>
          <p:cNvSpPr>
            <a:spLocks noGrp="1"/>
          </p:cNvSpPr>
          <p:nvPr>
            <p:ph idx="1"/>
          </p:nvPr>
        </p:nvSpPr>
        <p:spPr/>
        <p:txBody>
          <a:bodyPr/>
          <a:lstStyle/>
          <a:p>
            <a:r>
              <a:rPr lang="en-US" dirty="0"/>
              <a:t>Scrum Lens</a:t>
            </a:r>
          </a:p>
        </p:txBody>
      </p:sp>
      <p:pic>
        <p:nvPicPr>
          <p:cNvPr id="1026" name="Picture 2" descr="Image preview">
            <a:extLst>
              <a:ext uri="{FF2B5EF4-FFF2-40B4-BE49-F238E27FC236}">
                <a16:creationId xmlns:a16="http://schemas.microsoft.com/office/drawing/2014/main" id="{0BE371B0-5435-7BFD-F238-8784FAC6B7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9759" y="0"/>
            <a:ext cx="578802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3A7F071-EA26-AC49-AD9D-18E645367363}"/>
              </a:ext>
            </a:extLst>
          </p:cNvPr>
          <p:cNvPicPr>
            <a:picLocks noChangeAspect="1"/>
          </p:cNvPicPr>
          <p:nvPr/>
        </p:nvPicPr>
        <p:blipFill>
          <a:blip r:embed="rId4">
            <a:duotone>
              <a:schemeClr val="accent6">
                <a:shade val="45000"/>
                <a:satMod val="135000"/>
              </a:schemeClr>
              <a:prstClr val="white"/>
            </a:duotone>
            <a:lum bright="20000" contrast="-40000"/>
          </a:blip>
          <a:stretch>
            <a:fillRect/>
          </a:stretch>
        </p:blipFill>
        <p:spPr>
          <a:xfrm>
            <a:off x="0" y="2336782"/>
            <a:ext cx="5189759" cy="3052800"/>
          </a:xfrm>
          <a:prstGeom prst="rect">
            <a:avLst/>
          </a:prstGeom>
        </p:spPr>
      </p:pic>
      <p:sp>
        <p:nvSpPr>
          <p:cNvPr id="5" name="Rectangle 4">
            <a:extLst>
              <a:ext uri="{FF2B5EF4-FFF2-40B4-BE49-F238E27FC236}">
                <a16:creationId xmlns:a16="http://schemas.microsoft.com/office/drawing/2014/main" id="{FEF5D10B-414F-D9B4-E6BB-8910537EE070}"/>
              </a:ext>
            </a:extLst>
          </p:cNvPr>
          <p:cNvSpPr/>
          <p:nvPr/>
        </p:nvSpPr>
        <p:spPr>
          <a:xfrm>
            <a:off x="5619225" y="731836"/>
            <a:ext cx="6027612" cy="5632311"/>
          </a:xfrm>
          <a:prstGeom prst="rect">
            <a:avLst/>
          </a:prstGeom>
          <a:noFill/>
        </p:spPr>
        <p:txBody>
          <a:bodyPr wrap="none" lIns="91440" tIns="45720" rIns="91440" bIns="45720">
            <a:spAutoFit/>
          </a:bodyPr>
          <a:lstStyle/>
          <a:p>
            <a:pPr algn="ctr"/>
            <a:r>
              <a:rPr lang="en-US" sz="7200" b="1" cap="none" spc="0" dirty="0">
                <a:ln w="22225">
                  <a:solidFill>
                    <a:schemeClr val="accent2"/>
                  </a:solidFill>
                  <a:prstDash val="solid"/>
                </a:ln>
                <a:solidFill>
                  <a:schemeClr val="accent2">
                    <a:lumMod val="40000"/>
                    <a:lumOff val="60000"/>
                  </a:schemeClr>
                </a:solidFill>
                <a:effectLst/>
              </a:rPr>
              <a:t>Wrong</a:t>
            </a:r>
          </a:p>
          <a:p>
            <a:pPr algn="ctr"/>
            <a:endParaRPr lang="en-US" sz="7200" b="1" dirty="0">
              <a:ln w="22225">
                <a:solidFill>
                  <a:schemeClr val="accent2"/>
                </a:solidFill>
                <a:prstDash val="solid"/>
              </a:ln>
              <a:solidFill>
                <a:schemeClr val="accent2">
                  <a:lumMod val="40000"/>
                  <a:lumOff val="60000"/>
                </a:schemeClr>
              </a:solidFill>
            </a:endParaRPr>
          </a:p>
          <a:p>
            <a:pPr algn="ctr"/>
            <a:r>
              <a:rPr lang="en-US" sz="7200" b="1" cap="none" spc="0" dirty="0">
                <a:ln w="22225">
                  <a:solidFill>
                    <a:schemeClr val="accent2"/>
                  </a:solidFill>
                  <a:prstDash val="solid"/>
                </a:ln>
                <a:solidFill>
                  <a:schemeClr val="accent2">
                    <a:lumMod val="40000"/>
                    <a:lumOff val="60000"/>
                  </a:schemeClr>
                </a:solidFill>
                <a:effectLst/>
              </a:rPr>
              <a:t>     Wrong</a:t>
            </a:r>
          </a:p>
          <a:p>
            <a:pPr algn="ctr"/>
            <a:endParaRPr lang="en-US" sz="7200" b="1" cap="none" spc="0" dirty="0">
              <a:ln w="22225">
                <a:solidFill>
                  <a:schemeClr val="accent2"/>
                </a:solidFill>
                <a:prstDash val="solid"/>
              </a:ln>
              <a:solidFill>
                <a:schemeClr val="accent2">
                  <a:lumMod val="40000"/>
                  <a:lumOff val="60000"/>
                </a:schemeClr>
              </a:solidFill>
              <a:effectLst/>
            </a:endParaRPr>
          </a:p>
          <a:p>
            <a:pPr algn="ctr"/>
            <a:r>
              <a:rPr lang="en-US" sz="7200" b="1" dirty="0">
                <a:ln w="22225">
                  <a:solidFill>
                    <a:schemeClr val="accent2"/>
                  </a:solidFill>
                  <a:prstDash val="solid"/>
                </a:ln>
                <a:solidFill>
                  <a:schemeClr val="accent2">
                    <a:lumMod val="40000"/>
                    <a:lumOff val="60000"/>
                  </a:schemeClr>
                </a:solidFill>
              </a:rPr>
              <a:t>            </a:t>
            </a:r>
            <a:r>
              <a:rPr lang="en-US" sz="7200" b="1" dirty="0" err="1">
                <a:ln w="22225">
                  <a:solidFill>
                    <a:schemeClr val="accent2"/>
                  </a:solidFill>
                  <a:prstDash val="solid"/>
                </a:ln>
                <a:solidFill>
                  <a:schemeClr val="accent2">
                    <a:lumMod val="40000"/>
                    <a:lumOff val="60000"/>
                  </a:schemeClr>
                </a:solidFill>
              </a:rPr>
              <a:t>Wronger</a:t>
            </a:r>
            <a:endParaRPr lang="en-US" sz="7200" b="1" cap="none" spc="0" dirty="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1658221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F947AB-7635-CCA6-49DC-004710762C69}"/>
              </a:ext>
            </a:extLst>
          </p:cNvPr>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Kanban is not a process delivery framework</a:t>
            </a:r>
          </a:p>
        </p:txBody>
      </p:sp>
      <p:sp>
        <p:nvSpPr>
          <p:cNvPr id="4" name="Content Placeholder 3">
            <a:extLst>
              <a:ext uri="{FF2B5EF4-FFF2-40B4-BE49-F238E27FC236}">
                <a16:creationId xmlns:a16="http://schemas.microsoft.com/office/drawing/2014/main" id="{C942369A-9D6C-E3D5-78CA-31587E3D4374}"/>
              </a:ext>
            </a:extLst>
          </p:cNvPr>
          <p:cNvSpPr>
            <a:spLocks noGrp="1"/>
          </p:cNvSpPr>
          <p:nvPr>
            <p:ph idx="4294967295"/>
          </p:nvPr>
        </p:nvSpPr>
        <p:spPr>
          <a:xfrm>
            <a:off x="457200" y="1384300"/>
            <a:ext cx="11360150" cy="4555067"/>
          </a:xfrm>
        </p:spPr>
        <p:txBody>
          <a:bodyPr/>
          <a:lstStyle/>
          <a:p>
            <a:r>
              <a:rPr lang="en-US" dirty="0"/>
              <a:t>Kanban is not just a board</a:t>
            </a:r>
          </a:p>
          <a:p>
            <a:r>
              <a:rPr lang="en-US" dirty="0"/>
              <a:t>Kanban is not something you install</a:t>
            </a:r>
          </a:p>
          <a:p>
            <a:r>
              <a:rPr lang="en-US" dirty="0"/>
              <a:t>Kanban is not a transformation</a:t>
            </a:r>
          </a:p>
          <a:p>
            <a:r>
              <a:rPr lang="en-US" dirty="0"/>
              <a:t>Any Kanban vs. Scrum comparison makes no sense</a:t>
            </a:r>
          </a:p>
          <a:p>
            <a:pPr marL="0" indent="0">
              <a:buNone/>
            </a:pPr>
            <a:endParaRPr lang="en-US" sz="1800" dirty="0"/>
          </a:p>
          <a:p>
            <a:r>
              <a:rPr lang="en-US" dirty="0"/>
              <a:t>Kanban is a management method for improving the delivery of knowledge work using evolutionary change starting from where you are today</a:t>
            </a:r>
          </a:p>
          <a:p>
            <a:r>
              <a:rPr lang="en-US" dirty="0"/>
              <a:t>While not a transformation, Kanban can be quite transformational</a:t>
            </a:r>
          </a:p>
        </p:txBody>
      </p:sp>
      <p:sp>
        <p:nvSpPr>
          <p:cNvPr id="5" name="Title 2">
            <a:extLst>
              <a:ext uri="{FF2B5EF4-FFF2-40B4-BE49-F238E27FC236}">
                <a16:creationId xmlns:a16="http://schemas.microsoft.com/office/drawing/2014/main" id="{15B79D2D-1A47-B9AC-CB91-DB3602A9339D}"/>
              </a:ext>
            </a:extLst>
          </p:cNvPr>
          <p:cNvSpPr txBox="1">
            <a:spLocks/>
          </p:cNvSpPr>
          <p:nvPr/>
        </p:nvSpPr>
        <p:spPr>
          <a:xfrm>
            <a:off x="415600" y="5566246"/>
            <a:ext cx="11360800" cy="7636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1BFE0"/>
              </a:buClr>
              <a:buSzPts val="4700"/>
              <a:buFont typeface="Montserrat Medium"/>
              <a:buNone/>
              <a:defRPr sz="4700" b="0" i="0" u="none" strike="noStrike" cap="none">
                <a:solidFill>
                  <a:srgbClr val="01BFE0"/>
                </a:solidFill>
                <a:latin typeface="Montserrat Medium"/>
                <a:ea typeface="Montserrat Medium"/>
                <a:cs typeface="Montserrat Medium"/>
                <a:sym typeface="Montserrat Medium"/>
              </a:defRPr>
            </a:lvl1pPr>
            <a:lvl2pPr marR="0" lvl="1"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2pPr>
            <a:lvl3pPr marR="0" lvl="2"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3pPr>
            <a:lvl4pPr marR="0" lvl="3"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4pPr>
            <a:lvl5pPr marR="0" lvl="4"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5pPr>
            <a:lvl6pPr marR="0" lvl="5"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6pPr>
            <a:lvl7pPr marR="0" lvl="6"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7pPr>
            <a:lvl8pPr marR="0" lvl="7"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8pPr>
            <a:lvl9pPr marR="0" lvl="8"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9pPr>
          </a:lstStyle>
          <a:p>
            <a:r>
              <a:rPr lang="en-US" sz="3133" b="1" dirty="0">
                <a:solidFill>
                  <a:srgbClr val="7030A0"/>
                </a:solidFill>
              </a:rPr>
              <a:t>Kanban is an </a:t>
            </a:r>
            <a:r>
              <a:rPr lang="en-US" sz="3133" b="1" dirty="0" err="1">
                <a:solidFill>
                  <a:srgbClr val="7030A0"/>
                </a:solidFill>
              </a:rPr>
              <a:t>unframework</a:t>
            </a:r>
            <a:endParaRPr lang="en-US" sz="3133" b="1" dirty="0">
              <a:solidFill>
                <a:srgbClr val="7030A0"/>
              </a:solidFill>
            </a:endParaRPr>
          </a:p>
        </p:txBody>
      </p:sp>
    </p:spTree>
    <p:extLst>
      <p:ext uri="{BB962C8B-B14F-4D97-AF65-F5344CB8AC3E}">
        <p14:creationId xmlns:p14="http://schemas.microsoft.com/office/powerpoint/2010/main" val="1058738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on a blue arrow&#10;&#10;Description automatically generated">
            <a:extLst>
              <a:ext uri="{FF2B5EF4-FFF2-40B4-BE49-F238E27FC236}">
                <a16:creationId xmlns:a16="http://schemas.microsoft.com/office/drawing/2014/main" id="{ED972A09-01E0-FB33-DB96-894866085F04}"/>
              </a:ext>
            </a:extLst>
          </p:cNvPr>
          <p:cNvPicPr>
            <a:picLocks noChangeAspect="1"/>
          </p:cNvPicPr>
          <p:nvPr/>
        </p:nvPicPr>
        <p:blipFill rotWithShape="1">
          <a:blip r:embed="rId2">
            <a:extLst>
              <a:ext uri="{28A0092B-C50C-407E-A947-70E740481C1C}">
                <a14:useLocalDpi xmlns:a14="http://schemas.microsoft.com/office/drawing/2010/main" val="0"/>
              </a:ext>
            </a:extLst>
          </a:blip>
          <a:srcRect l="20688"/>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65D2FA1-8893-DB87-F439-BC6603991EC3}"/>
              </a:ext>
            </a:extLst>
          </p:cNvPr>
          <p:cNvSpPr>
            <a:spLocks noGrp="1"/>
          </p:cNvSpPr>
          <p:nvPr>
            <p:ph type="title"/>
          </p:nvPr>
        </p:nvSpPr>
        <p:spPr>
          <a:xfrm>
            <a:off x="838200" y="365125"/>
            <a:ext cx="3822189" cy="1899912"/>
          </a:xfrm>
        </p:spPr>
        <p:txBody>
          <a:bodyPr>
            <a:normAutofit/>
          </a:bodyPr>
          <a:lstStyle/>
          <a:p>
            <a:r>
              <a:rPr lang="en-US" sz="4000" dirty="0"/>
              <a:t>Start with what you do now</a:t>
            </a:r>
          </a:p>
        </p:txBody>
      </p:sp>
      <p:sp>
        <p:nvSpPr>
          <p:cNvPr id="9" name="Content Placeholder 8">
            <a:extLst>
              <a:ext uri="{FF2B5EF4-FFF2-40B4-BE49-F238E27FC236}">
                <a16:creationId xmlns:a16="http://schemas.microsoft.com/office/drawing/2014/main" id="{D10E8BFA-EA98-B569-2571-0902F9B18048}"/>
              </a:ext>
            </a:extLst>
          </p:cNvPr>
          <p:cNvSpPr>
            <a:spLocks noGrp="1"/>
          </p:cNvSpPr>
          <p:nvPr>
            <p:ph idx="1"/>
          </p:nvPr>
        </p:nvSpPr>
        <p:spPr>
          <a:xfrm>
            <a:off x="838200" y="2434201"/>
            <a:ext cx="3822189" cy="3742762"/>
          </a:xfrm>
        </p:spPr>
        <p:txBody>
          <a:bodyPr>
            <a:normAutofit lnSpcReduction="10000"/>
          </a:bodyPr>
          <a:lstStyle/>
          <a:p>
            <a:r>
              <a:rPr lang="en-US" sz="2000" dirty="0"/>
              <a:t>Add Kanban principles and practices on top of your existing process or framework</a:t>
            </a:r>
          </a:p>
          <a:p>
            <a:endParaRPr lang="en-US" sz="2000" dirty="0"/>
          </a:p>
          <a:p>
            <a:endParaRPr lang="en-US" sz="2000" dirty="0"/>
          </a:p>
          <a:p>
            <a:r>
              <a:rPr lang="en-US" sz="2000" dirty="0"/>
              <a:t>Kanban is NOT a Process Framework!</a:t>
            </a:r>
          </a:p>
          <a:p>
            <a:endParaRPr lang="en-US" sz="2000" dirty="0"/>
          </a:p>
          <a:p>
            <a:r>
              <a:rPr lang="en-US" sz="2000" dirty="0"/>
              <a:t>Kanban IS a method for managing and improving knowledge work service delivery through evolutionary change  </a:t>
            </a:r>
          </a:p>
        </p:txBody>
      </p:sp>
      <p:sp>
        <p:nvSpPr>
          <p:cNvPr id="6" name="Arrow: Right 5">
            <a:extLst>
              <a:ext uri="{FF2B5EF4-FFF2-40B4-BE49-F238E27FC236}">
                <a16:creationId xmlns:a16="http://schemas.microsoft.com/office/drawing/2014/main" id="{E9DA598D-6045-1D0C-17D7-B10F47A0E1C3}"/>
              </a:ext>
            </a:extLst>
          </p:cNvPr>
          <p:cNvSpPr/>
          <p:nvPr/>
        </p:nvSpPr>
        <p:spPr>
          <a:xfrm>
            <a:off x="1528859" y="3088700"/>
            <a:ext cx="9134282" cy="106211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Existing Process  or Framework   </a:t>
            </a:r>
          </a:p>
        </p:txBody>
      </p:sp>
    </p:spTree>
    <p:extLst>
      <p:ext uri="{BB962C8B-B14F-4D97-AF65-F5344CB8AC3E}">
        <p14:creationId xmlns:p14="http://schemas.microsoft.com/office/powerpoint/2010/main" val="148646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Tug boats tied to a rope in the water">
            <a:extLst>
              <a:ext uri="{FF2B5EF4-FFF2-40B4-BE49-F238E27FC236}">
                <a16:creationId xmlns:a16="http://schemas.microsoft.com/office/drawing/2014/main" id="{CEF62B8A-258C-F102-3613-EA6C71AB33D3}"/>
              </a:ext>
            </a:extLst>
          </p:cNvPr>
          <p:cNvPicPr>
            <a:picLocks noGrp="1" noChangeAspect="1"/>
          </p:cNvPicPr>
          <p:nvPr>
            <p:ph idx="1"/>
          </p:nvPr>
        </p:nvPicPr>
        <p:blipFill>
          <a:blip r:embed="rId2"/>
          <a:srcRect t="9926" b="3867"/>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4A314D5-DBC3-AF83-2A9C-68AEF2DEA63B}"/>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Kanban can save your Agile boat!</a:t>
            </a: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957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0" y="50052"/>
            <a:ext cx="12192000" cy="928694"/>
          </a:xfrm>
        </p:spPr>
        <p:txBody>
          <a:bodyPr>
            <a:noAutofit/>
          </a:bodyPr>
          <a:lstStyle/>
          <a:p>
            <a:pPr algn="ctr"/>
            <a:r>
              <a:rPr lang="en-US" sz="5334">
                <a:latin typeface="PT Sans" panose="020B0503020203020204" pitchFamily="34" charset="77"/>
              </a:rPr>
              <a:t>Start</a:t>
            </a:r>
            <a:r>
              <a:rPr lang="en-US" sz="7200">
                <a:latin typeface="PT Sans" panose="020B0503020203020204" pitchFamily="34" charset="77"/>
              </a:rPr>
              <a:t> </a:t>
            </a:r>
            <a:r>
              <a:rPr lang="en-US" sz="5334">
                <a:latin typeface="PT Sans" panose="020B0503020203020204" pitchFamily="34" charset="77"/>
              </a:rPr>
              <a:t>with what you do now</a:t>
            </a:r>
          </a:p>
        </p:txBody>
      </p:sp>
      <p:pic>
        <p:nvPicPr>
          <p:cNvPr id="4" name="Picture 3" descr="Diagram&#10;&#10;Description automatically generated">
            <a:extLst>
              <a:ext uri="{FF2B5EF4-FFF2-40B4-BE49-F238E27FC236}">
                <a16:creationId xmlns:a16="http://schemas.microsoft.com/office/drawing/2014/main" id="{96B1248F-CD15-DAF7-9E75-387BF535E39A}"/>
              </a:ext>
            </a:extLst>
          </p:cNvPr>
          <p:cNvPicPr>
            <a:picLocks noChangeAspect="1"/>
          </p:cNvPicPr>
          <p:nvPr/>
        </p:nvPicPr>
        <p:blipFill>
          <a:blip r:embed="rId2"/>
          <a:stretch>
            <a:fillRect/>
          </a:stretch>
        </p:blipFill>
        <p:spPr>
          <a:xfrm>
            <a:off x="5013960" y="1724876"/>
            <a:ext cx="6416417" cy="4154379"/>
          </a:xfrm>
          <a:prstGeom prst="rect">
            <a:avLst/>
          </a:prstGeom>
        </p:spPr>
      </p:pic>
    </p:spTree>
    <p:extLst>
      <p:ext uri="{BB962C8B-B14F-4D97-AF65-F5344CB8AC3E}">
        <p14:creationId xmlns:p14="http://schemas.microsoft.com/office/powerpoint/2010/main" val="28083455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12A5C-C83D-C4F9-08C9-44F758E206C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C9739A8-EADE-AA68-95A5-71AC0208BD52}"/>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0558A86A-F62D-9630-8912-7F3A7BE81F14}"/>
              </a:ext>
            </a:extLst>
          </p:cNvPr>
          <p:cNvPicPr>
            <a:picLocks noChangeAspect="1"/>
          </p:cNvPicPr>
          <p:nvPr/>
        </p:nvPicPr>
        <p:blipFill>
          <a:blip r:embed="rId2"/>
          <a:stretch>
            <a:fillRect/>
          </a:stretch>
        </p:blipFill>
        <p:spPr>
          <a:xfrm>
            <a:off x="3262772" y="0"/>
            <a:ext cx="5666456" cy="6858000"/>
          </a:xfrm>
          <a:prstGeom prst="rect">
            <a:avLst/>
          </a:prstGeom>
        </p:spPr>
      </p:pic>
    </p:spTree>
    <p:extLst>
      <p:ext uri="{BB962C8B-B14F-4D97-AF65-F5344CB8AC3E}">
        <p14:creationId xmlns:p14="http://schemas.microsoft.com/office/powerpoint/2010/main" val="23891606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D64AD-11BE-E3D5-90FA-9C764C38991E}"/>
              </a:ext>
            </a:extLst>
          </p:cNvPr>
          <p:cNvSpPr>
            <a:spLocks noGrp="1"/>
          </p:cNvSpPr>
          <p:nvPr>
            <p:ph type="title"/>
          </p:nvPr>
        </p:nvSpPr>
        <p:spPr>
          <a:xfrm>
            <a:off x="838200" y="365125"/>
            <a:ext cx="10515600" cy="938235"/>
          </a:xfrm>
        </p:spPr>
        <p:txBody>
          <a:bodyPr/>
          <a:lstStyle/>
          <a:p>
            <a:r>
              <a:rPr lang="en-US" dirty="0"/>
              <a:t>State of Kanban 2022</a:t>
            </a:r>
          </a:p>
        </p:txBody>
      </p:sp>
      <p:pic>
        <p:nvPicPr>
          <p:cNvPr id="9" name="Picture 8">
            <a:extLst>
              <a:ext uri="{FF2B5EF4-FFF2-40B4-BE49-F238E27FC236}">
                <a16:creationId xmlns:a16="http://schemas.microsoft.com/office/drawing/2014/main" id="{A72B3685-46B9-9F95-B35E-B5B133EFBB61}"/>
              </a:ext>
            </a:extLst>
          </p:cNvPr>
          <p:cNvPicPr>
            <a:picLocks noChangeAspect="1"/>
          </p:cNvPicPr>
          <p:nvPr/>
        </p:nvPicPr>
        <p:blipFill rotWithShape="1">
          <a:blip r:embed="rId2"/>
          <a:srcRect t="-3003" b="52323"/>
          <a:stretch/>
        </p:blipFill>
        <p:spPr>
          <a:xfrm>
            <a:off x="5377778" y="867824"/>
            <a:ext cx="6814221" cy="4686816"/>
          </a:xfrm>
          <a:prstGeom prst="rect">
            <a:avLst/>
          </a:prstGeom>
        </p:spPr>
      </p:pic>
      <p:pic>
        <p:nvPicPr>
          <p:cNvPr id="10" name="Picture 9">
            <a:extLst>
              <a:ext uri="{FF2B5EF4-FFF2-40B4-BE49-F238E27FC236}">
                <a16:creationId xmlns:a16="http://schemas.microsoft.com/office/drawing/2014/main" id="{471ACC55-72E5-10CB-3D45-DE3AF10926D5}"/>
              </a:ext>
            </a:extLst>
          </p:cNvPr>
          <p:cNvPicPr>
            <a:picLocks noChangeAspect="1"/>
          </p:cNvPicPr>
          <p:nvPr/>
        </p:nvPicPr>
        <p:blipFill rotWithShape="1">
          <a:blip r:embed="rId2"/>
          <a:srcRect t="49320"/>
          <a:stretch/>
        </p:blipFill>
        <p:spPr>
          <a:xfrm>
            <a:off x="73743" y="1303360"/>
            <a:ext cx="5714292" cy="3930285"/>
          </a:xfrm>
          <a:prstGeom prst="rect">
            <a:avLst/>
          </a:prstGeom>
        </p:spPr>
      </p:pic>
    </p:spTree>
    <p:extLst>
      <p:ext uri="{BB962C8B-B14F-4D97-AF65-F5344CB8AC3E}">
        <p14:creationId xmlns:p14="http://schemas.microsoft.com/office/powerpoint/2010/main" val="594539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372" y="102271"/>
            <a:ext cx="10515600" cy="1325563"/>
          </a:xfrm>
        </p:spPr>
        <p:txBody>
          <a:bodyPr/>
          <a:lstStyle/>
          <a:p>
            <a:pPr algn="ctr"/>
            <a:r>
              <a:rPr lang="en-US"/>
              <a:t>Kanban Maturity Model at Vanguard</a:t>
            </a:r>
          </a:p>
        </p:txBody>
      </p:sp>
      <p:sp>
        <p:nvSpPr>
          <p:cNvPr id="3" name="Content Placeholder 2"/>
          <p:cNvSpPr>
            <a:spLocks noGrp="1"/>
          </p:cNvSpPr>
          <p:nvPr>
            <p:ph idx="1"/>
          </p:nvPr>
        </p:nvSpPr>
        <p:spPr>
          <a:xfrm>
            <a:off x="386458" y="2991232"/>
            <a:ext cx="2472818" cy="544010"/>
          </a:xfrm>
        </p:spPr>
        <p:txBody>
          <a:bodyPr>
            <a:normAutofit/>
          </a:bodyPr>
          <a:lstStyle/>
          <a:p>
            <a:pPr marL="0" indent="0">
              <a:buNone/>
            </a:pPr>
            <a:r>
              <a:rPr lang="en-US"/>
              <a:t>Scrum Stall</a:t>
            </a:r>
          </a:p>
          <a:p>
            <a:endParaRPr lang="en-US"/>
          </a:p>
          <a:p>
            <a:endParaRPr lang="en-US"/>
          </a:p>
          <a:p>
            <a:pPr marL="0" indent="0">
              <a:buNone/>
            </a:pPr>
            <a:endParaRPr lang="en-US"/>
          </a:p>
        </p:txBody>
      </p:sp>
      <p:pic>
        <p:nvPicPr>
          <p:cNvPr id="6" name="Picture 5"/>
          <p:cNvPicPr>
            <a:picLocks noChangeAspect="1"/>
          </p:cNvPicPr>
          <p:nvPr/>
        </p:nvPicPr>
        <p:blipFill>
          <a:blip r:embed="rId2"/>
          <a:stretch>
            <a:fillRect/>
          </a:stretch>
        </p:blipFill>
        <p:spPr>
          <a:xfrm>
            <a:off x="2650602" y="1647753"/>
            <a:ext cx="7465671" cy="4433085"/>
          </a:xfrm>
          <a:prstGeom prst="rect">
            <a:avLst/>
          </a:prstGeom>
        </p:spPr>
      </p:pic>
      <p:sp>
        <p:nvSpPr>
          <p:cNvPr id="8" name="TextBox 7">
            <a:extLst>
              <a:ext uri="{FF2B5EF4-FFF2-40B4-BE49-F238E27FC236}">
                <a16:creationId xmlns:a16="http://schemas.microsoft.com/office/drawing/2014/main" id="{761709CA-95E0-F94C-AD36-19D7FA467F9E}"/>
              </a:ext>
            </a:extLst>
          </p:cNvPr>
          <p:cNvSpPr txBox="1"/>
          <p:nvPr/>
        </p:nvSpPr>
        <p:spPr>
          <a:xfrm>
            <a:off x="566729" y="980314"/>
            <a:ext cx="8554122" cy="369332"/>
          </a:xfrm>
          <a:prstGeom prst="rect">
            <a:avLst/>
          </a:prstGeom>
          <a:noFill/>
        </p:spPr>
        <p:txBody>
          <a:bodyPr wrap="square">
            <a:spAutoFit/>
          </a:bodyPr>
          <a:lstStyle/>
          <a:p>
            <a:pPr marL="0" indent="0">
              <a:buNone/>
            </a:pPr>
            <a:r>
              <a:rPr lang="en-US"/>
              <a:t>78% improvement (time to deliver) in approximately 90 days! </a:t>
            </a:r>
          </a:p>
        </p:txBody>
      </p:sp>
      <p:sp>
        <p:nvSpPr>
          <p:cNvPr id="4" name="Slide Number Placeholder 3">
            <a:extLst>
              <a:ext uri="{FF2B5EF4-FFF2-40B4-BE49-F238E27FC236}">
                <a16:creationId xmlns:a16="http://schemas.microsoft.com/office/drawing/2014/main" id="{5CA65EDD-7C60-4740-ACF5-5CADAAAE562F}"/>
              </a:ext>
            </a:extLst>
          </p:cNvPr>
          <p:cNvSpPr>
            <a:spLocks noGrp="1"/>
          </p:cNvSpPr>
          <p:nvPr>
            <p:ph type="sldNum" sz="quarter" idx="12"/>
          </p:nvPr>
        </p:nvSpPr>
        <p:spPr/>
        <p:txBody>
          <a:bodyPr/>
          <a:lstStyle/>
          <a:p>
            <a:fld id="{2392DDAE-9823-6946-874E-259A5CB9452D}" type="slidenum">
              <a:rPr lang="en-US" smtClean="0"/>
              <a:t>38</a:t>
            </a:fld>
            <a:endParaRPr lang="en-US"/>
          </a:p>
        </p:txBody>
      </p:sp>
    </p:spTree>
    <p:extLst>
      <p:ext uri="{BB962C8B-B14F-4D97-AF65-F5344CB8AC3E}">
        <p14:creationId xmlns:p14="http://schemas.microsoft.com/office/powerpoint/2010/main" val="1733506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23562" y="1427834"/>
            <a:ext cx="9504874" cy="4764622"/>
          </a:xfrm>
          <a:prstGeom prst="rect">
            <a:avLst/>
          </a:prstGeom>
        </p:spPr>
      </p:pic>
      <p:sp>
        <p:nvSpPr>
          <p:cNvPr id="7" name="Title 1">
            <a:extLst>
              <a:ext uri="{FF2B5EF4-FFF2-40B4-BE49-F238E27FC236}">
                <a16:creationId xmlns:a16="http://schemas.microsoft.com/office/drawing/2014/main" id="{ADD6B383-1500-7940-A815-EA38F1B2CA14}"/>
              </a:ext>
            </a:extLst>
          </p:cNvPr>
          <p:cNvSpPr>
            <a:spLocks noGrp="1"/>
          </p:cNvSpPr>
          <p:nvPr>
            <p:ph type="title"/>
          </p:nvPr>
        </p:nvSpPr>
        <p:spPr>
          <a:xfrm>
            <a:off x="-180372" y="102271"/>
            <a:ext cx="10515600" cy="1325563"/>
          </a:xfrm>
        </p:spPr>
        <p:txBody>
          <a:bodyPr/>
          <a:lstStyle/>
          <a:p>
            <a:pPr algn="ctr"/>
            <a:r>
              <a:rPr lang="en-US"/>
              <a:t>Kanban Maturity Model at Vanguard</a:t>
            </a:r>
          </a:p>
        </p:txBody>
      </p:sp>
      <p:sp>
        <p:nvSpPr>
          <p:cNvPr id="8" name="TextBox 7">
            <a:extLst>
              <a:ext uri="{FF2B5EF4-FFF2-40B4-BE49-F238E27FC236}">
                <a16:creationId xmlns:a16="http://schemas.microsoft.com/office/drawing/2014/main" id="{566D0014-A189-FE47-9498-BAA83C6B4429}"/>
              </a:ext>
            </a:extLst>
          </p:cNvPr>
          <p:cNvSpPr txBox="1"/>
          <p:nvPr/>
        </p:nvSpPr>
        <p:spPr>
          <a:xfrm>
            <a:off x="566729" y="980314"/>
            <a:ext cx="8554122" cy="369332"/>
          </a:xfrm>
          <a:prstGeom prst="rect">
            <a:avLst/>
          </a:prstGeom>
          <a:noFill/>
        </p:spPr>
        <p:txBody>
          <a:bodyPr wrap="square">
            <a:spAutoFit/>
          </a:bodyPr>
          <a:lstStyle/>
          <a:p>
            <a:pPr marL="0" indent="0">
              <a:buNone/>
            </a:pPr>
            <a:r>
              <a:rPr lang="en-US"/>
              <a:t>78% improvement (time to deliver) in approximately 90 days! </a:t>
            </a:r>
          </a:p>
        </p:txBody>
      </p:sp>
      <p:sp>
        <p:nvSpPr>
          <p:cNvPr id="2" name="Slide Number Placeholder 1">
            <a:extLst>
              <a:ext uri="{FF2B5EF4-FFF2-40B4-BE49-F238E27FC236}">
                <a16:creationId xmlns:a16="http://schemas.microsoft.com/office/drawing/2014/main" id="{69758381-A66D-1448-847B-BC21CEF256A1}"/>
              </a:ext>
            </a:extLst>
          </p:cNvPr>
          <p:cNvSpPr>
            <a:spLocks noGrp="1"/>
          </p:cNvSpPr>
          <p:nvPr>
            <p:ph type="sldNum" sz="quarter" idx="12"/>
          </p:nvPr>
        </p:nvSpPr>
        <p:spPr/>
        <p:txBody>
          <a:bodyPr/>
          <a:lstStyle/>
          <a:p>
            <a:fld id="{2392DDAE-9823-6946-874E-259A5CB9452D}" type="slidenum">
              <a:rPr lang="en-US" smtClean="0"/>
              <a:t>39</a:t>
            </a:fld>
            <a:endParaRPr lang="en-US"/>
          </a:p>
        </p:txBody>
      </p:sp>
    </p:spTree>
    <p:extLst>
      <p:ext uri="{BB962C8B-B14F-4D97-AF65-F5344CB8AC3E}">
        <p14:creationId xmlns:p14="http://schemas.microsoft.com/office/powerpoint/2010/main" val="4294847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9B363F0-7E7A-A07E-D41B-9B242853A9F9}"/>
              </a:ext>
            </a:extLst>
          </p:cNvPr>
          <p:cNvSpPr>
            <a:spLocks noGrp="1"/>
          </p:cNvSpPr>
          <p:nvPr>
            <p:ph type="body" sz="quarter" idx="13"/>
          </p:nvPr>
        </p:nvSpPr>
        <p:spPr/>
        <p:txBody>
          <a:bodyPr>
            <a:normAutofit fontScale="62500" lnSpcReduction="20000"/>
          </a:bodyPr>
          <a:lstStyle/>
          <a:p>
            <a:r>
              <a:rPr lang="en-US" dirty="0"/>
              <a:t>Discord CEO, Jason Citron, announced the layoff news in a memo to the employees and a meeting with the staff, saying that the layoffs were a difficult but necessary decision to make Discord more agile and effective.</a:t>
            </a:r>
          </a:p>
        </p:txBody>
      </p:sp>
      <p:sp>
        <p:nvSpPr>
          <p:cNvPr id="3" name="Text Placeholder 2">
            <a:extLst>
              <a:ext uri="{FF2B5EF4-FFF2-40B4-BE49-F238E27FC236}">
                <a16:creationId xmlns:a16="http://schemas.microsoft.com/office/drawing/2014/main" id="{37049A80-A74D-56BC-BC7F-DE7DC1688996}"/>
              </a:ext>
            </a:extLst>
          </p:cNvPr>
          <p:cNvSpPr>
            <a:spLocks noGrp="1"/>
          </p:cNvSpPr>
          <p:nvPr>
            <p:ph type="body" sz="quarter" idx="14"/>
          </p:nvPr>
        </p:nvSpPr>
        <p:spPr/>
        <p:txBody>
          <a:bodyPr/>
          <a:lstStyle/>
          <a:p>
            <a:endParaRPr lang="en-US"/>
          </a:p>
        </p:txBody>
      </p:sp>
      <p:sp>
        <p:nvSpPr>
          <p:cNvPr id="4" name="Slide Number Placeholder 3">
            <a:extLst>
              <a:ext uri="{FF2B5EF4-FFF2-40B4-BE49-F238E27FC236}">
                <a16:creationId xmlns:a16="http://schemas.microsoft.com/office/drawing/2014/main" id="{102B4ADC-ECFA-4440-9EA3-A473A745FFC6}"/>
              </a:ext>
            </a:extLst>
          </p:cNvPr>
          <p:cNvSpPr>
            <a:spLocks noGrp="1"/>
          </p:cNvSpPr>
          <p:nvPr>
            <p:ph type="sldNum" sz="quarter" idx="16"/>
          </p:nvPr>
        </p:nvSpPr>
        <p:spPr/>
        <p:txBody>
          <a:bodyPr/>
          <a:lstStyle/>
          <a:p>
            <a:fld id="{C35D1307-4518-DC49-A96C-7B35E51C61C4}" type="slidenum">
              <a:rPr lang="en-US" noProof="0" smtClean="0"/>
              <a:pPr/>
              <a:t>4</a:t>
            </a:fld>
            <a:endParaRPr lang="en-US" noProof="0"/>
          </a:p>
        </p:txBody>
      </p:sp>
    </p:spTree>
    <p:extLst>
      <p:ext uri="{BB962C8B-B14F-4D97-AF65-F5344CB8AC3E}">
        <p14:creationId xmlns:p14="http://schemas.microsoft.com/office/powerpoint/2010/main" val="40114887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descr="No alt text provided for this image">
            <a:extLst>
              <a:ext uri="{FF2B5EF4-FFF2-40B4-BE49-F238E27FC236}">
                <a16:creationId xmlns:a16="http://schemas.microsoft.com/office/drawing/2014/main" id="{15D9876A-8F69-4BA4-91A2-A7F2615578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008210"/>
            <a:ext cx="11102433" cy="413794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EC5C1FF-60BE-4A95-9233-F6C62479F6BB}"/>
              </a:ext>
            </a:extLst>
          </p:cNvPr>
          <p:cNvSpPr>
            <a:spLocks noGrp="1"/>
          </p:cNvSpPr>
          <p:nvPr>
            <p:ph type="title"/>
          </p:nvPr>
        </p:nvSpPr>
        <p:spPr/>
        <p:txBody>
          <a:bodyPr/>
          <a:lstStyle/>
          <a:p>
            <a:r>
              <a:rPr lang="en-US"/>
              <a:t>Kanban Impact at Accenture Brazil</a:t>
            </a:r>
          </a:p>
        </p:txBody>
      </p:sp>
      <p:sp>
        <p:nvSpPr>
          <p:cNvPr id="5" name="TextBox 4">
            <a:extLst>
              <a:ext uri="{FF2B5EF4-FFF2-40B4-BE49-F238E27FC236}">
                <a16:creationId xmlns:a16="http://schemas.microsoft.com/office/drawing/2014/main" id="{B9131332-88D4-8848-9943-43B23327D732}"/>
              </a:ext>
            </a:extLst>
          </p:cNvPr>
          <p:cNvSpPr txBox="1"/>
          <p:nvPr/>
        </p:nvSpPr>
        <p:spPr>
          <a:xfrm>
            <a:off x="838200" y="1295451"/>
            <a:ext cx="11014276" cy="369332"/>
          </a:xfrm>
          <a:prstGeom prst="rect">
            <a:avLst/>
          </a:prstGeom>
          <a:noFill/>
        </p:spPr>
        <p:txBody>
          <a:bodyPr wrap="square">
            <a:spAutoFit/>
          </a:bodyPr>
          <a:lstStyle/>
          <a:p>
            <a:pPr marL="0" indent="0">
              <a:buNone/>
            </a:pPr>
            <a:r>
              <a:rPr lang="en-US"/>
              <a:t>What happens when you learn how to properly design and build a Kanban System? You evolve (fast).</a:t>
            </a:r>
          </a:p>
        </p:txBody>
      </p:sp>
      <p:sp>
        <p:nvSpPr>
          <p:cNvPr id="3" name="Slide Number Placeholder 2">
            <a:extLst>
              <a:ext uri="{FF2B5EF4-FFF2-40B4-BE49-F238E27FC236}">
                <a16:creationId xmlns:a16="http://schemas.microsoft.com/office/drawing/2014/main" id="{D939C32C-86FF-9F4B-B9C1-60ECD6DB6A60}"/>
              </a:ext>
            </a:extLst>
          </p:cNvPr>
          <p:cNvSpPr>
            <a:spLocks noGrp="1"/>
          </p:cNvSpPr>
          <p:nvPr>
            <p:ph type="sldNum" sz="quarter" idx="12"/>
          </p:nvPr>
        </p:nvSpPr>
        <p:spPr/>
        <p:txBody>
          <a:bodyPr/>
          <a:lstStyle/>
          <a:p>
            <a:fld id="{2392DDAE-9823-6946-874E-259A5CB9452D}" type="slidenum">
              <a:rPr lang="en-US" smtClean="0"/>
              <a:t>40</a:t>
            </a:fld>
            <a:endParaRPr lang="en-US"/>
          </a:p>
        </p:txBody>
      </p:sp>
    </p:spTree>
    <p:extLst>
      <p:ext uri="{BB962C8B-B14F-4D97-AF65-F5344CB8AC3E}">
        <p14:creationId xmlns:p14="http://schemas.microsoft.com/office/powerpoint/2010/main" val="19391446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black and white poster with a crown&#10;&#10;Description automatically generated">
            <a:extLst>
              <a:ext uri="{FF2B5EF4-FFF2-40B4-BE49-F238E27FC236}">
                <a16:creationId xmlns:a16="http://schemas.microsoft.com/office/drawing/2014/main" id="{C1451CB6-E66B-2287-896F-F6378798EDE4}"/>
              </a:ext>
            </a:extLst>
          </p:cNvPr>
          <p:cNvPicPr>
            <a:picLocks noGrp="1" noChangeAspect="1"/>
          </p:cNvPicPr>
          <p:nvPr>
            <p:ph idx="1"/>
          </p:nvPr>
        </p:nvPicPr>
        <p:blipFill>
          <a:blip r:embed="rId2"/>
          <a:stretch>
            <a:fillRect/>
          </a:stretch>
        </p:blipFill>
        <p:spPr>
          <a:xfrm>
            <a:off x="3188474" y="367354"/>
            <a:ext cx="4648286" cy="5809609"/>
          </a:xfrm>
        </p:spPr>
      </p:pic>
      <p:sp>
        <p:nvSpPr>
          <p:cNvPr id="4" name="Slide Number Placeholder 3">
            <a:extLst>
              <a:ext uri="{FF2B5EF4-FFF2-40B4-BE49-F238E27FC236}">
                <a16:creationId xmlns:a16="http://schemas.microsoft.com/office/drawing/2014/main" id="{CC5A2A72-9ECE-F2B9-4173-236F5C795D5A}"/>
              </a:ext>
            </a:extLst>
          </p:cNvPr>
          <p:cNvSpPr>
            <a:spLocks noGrp="1"/>
          </p:cNvSpPr>
          <p:nvPr>
            <p:ph type="sldNum" sz="quarter" idx="12"/>
          </p:nvPr>
        </p:nvSpPr>
        <p:spPr/>
        <p:txBody>
          <a:bodyPr/>
          <a:lstStyle/>
          <a:p>
            <a:fld id="{2392DDAE-9823-6946-874E-259A5CB9452D}" type="slidenum">
              <a:rPr lang="en-US" smtClean="0"/>
              <a:t>41</a:t>
            </a:fld>
            <a:endParaRPr lang="en-US"/>
          </a:p>
        </p:txBody>
      </p:sp>
      <p:sp>
        <p:nvSpPr>
          <p:cNvPr id="7" name="TextBox 6">
            <a:extLst>
              <a:ext uri="{FF2B5EF4-FFF2-40B4-BE49-F238E27FC236}">
                <a16:creationId xmlns:a16="http://schemas.microsoft.com/office/drawing/2014/main" id="{34C49159-BB04-66CB-CF81-27B553680E19}"/>
              </a:ext>
            </a:extLst>
          </p:cNvPr>
          <p:cNvSpPr txBox="1"/>
          <p:nvPr/>
        </p:nvSpPr>
        <p:spPr>
          <a:xfrm>
            <a:off x="3945196" y="4394827"/>
            <a:ext cx="3325762" cy="1446550"/>
          </a:xfrm>
          <a:prstGeom prst="rect">
            <a:avLst/>
          </a:prstGeom>
          <a:noFill/>
        </p:spPr>
        <p:txBody>
          <a:bodyPr wrap="square" rtlCol="0">
            <a:spAutoFit/>
          </a:bodyPr>
          <a:lstStyle/>
          <a:p>
            <a:pPr algn="ctr"/>
            <a:r>
              <a:rPr lang="en-US" sz="4400" kern="1200" dirty="0">
                <a:solidFill>
                  <a:schemeClr val="bg1">
                    <a:lumMod val="95000"/>
                  </a:schemeClr>
                </a:solidFill>
                <a:latin typeface="+mn-lt"/>
                <a:ea typeface="+mn-ea"/>
                <a:cs typeface="+mn-cs"/>
              </a:rPr>
              <a:t>KANBAN ON</a:t>
            </a:r>
          </a:p>
        </p:txBody>
      </p:sp>
    </p:spTree>
    <p:extLst>
      <p:ext uri="{BB962C8B-B14F-4D97-AF65-F5344CB8AC3E}">
        <p14:creationId xmlns:p14="http://schemas.microsoft.com/office/powerpoint/2010/main" val="7802433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09BC5-F790-E97D-36E3-6D6702D973AF}"/>
              </a:ext>
            </a:extLst>
          </p:cNvPr>
          <p:cNvSpPr>
            <a:spLocks noGrp="1"/>
          </p:cNvSpPr>
          <p:nvPr>
            <p:ph type="title"/>
          </p:nvPr>
        </p:nvSpPr>
        <p:spPr/>
        <p:txBody>
          <a:bodyPr/>
          <a:lstStyle/>
          <a:p>
            <a:r>
              <a:rPr lang="en-US" dirty="0"/>
              <a:t>Official Guide To The Kanban Method</a:t>
            </a:r>
          </a:p>
        </p:txBody>
      </p:sp>
      <p:pic>
        <p:nvPicPr>
          <p:cNvPr id="5" name="Picture 4" descr="A purple cover with a person in a convertible&#10;&#10;Description automatically generated">
            <a:extLst>
              <a:ext uri="{FF2B5EF4-FFF2-40B4-BE49-F238E27FC236}">
                <a16:creationId xmlns:a16="http://schemas.microsoft.com/office/drawing/2014/main" id="{65AF0D1A-8EBA-0CEF-0286-AF224877957E}"/>
              </a:ext>
            </a:extLst>
          </p:cNvPr>
          <p:cNvPicPr>
            <a:picLocks noChangeAspect="1"/>
          </p:cNvPicPr>
          <p:nvPr/>
        </p:nvPicPr>
        <p:blipFill>
          <a:blip r:embed="rId2"/>
          <a:stretch>
            <a:fillRect/>
          </a:stretch>
        </p:blipFill>
        <p:spPr>
          <a:xfrm rot="20648343">
            <a:off x="7458009" y="1859398"/>
            <a:ext cx="3058328" cy="3975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Content Placeholder 8" descr="A qr code with black squares&#10;&#10;Description automatically generated">
            <a:extLst>
              <a:ext uri="{FF2B5EF4-FFF2-40B4-BE49-F238E27FC236}">
                <a16:creationId xmlns:a16="http://schemas.microsoft.com/office/drawing/2014/main" id="{72CB540D-E84A-1181-7FF8-40ADB5C23CA4}"/>
              </a:ext>
            </a:extLst>
          </p:cNvPr>
          <p:cNvPicPr>
            <a:picLocks noGrp="1" noChangeAspect="1"/>
          </p:cNvPicPr>
          <p:nvPr>
            <p:ph idx="1"/>
          </p:nvPr>
        </p:nvPicPr>
        <p:blipFill>
          <a:blip r:embed="rId3"/>
          <a:stretch>
            <a:fillRect/>
          </a:stretch>
        </p:blipFill>
        <p:spPr>
          <a:xfrm>
            <a:off x="867670" y="1796519"/>
            <a:ext cx="4567930" cy="4567930"/>
          </a:xfrm>
        </p:spPr>
      </p:pic>
      <p:sp>
        <p:nvSpPr>
          <p:cNvPr id="3" name="TextBox 2">
            <a:extLst>
              <a:ext uri="{FF2B5EF4-FFF2-40B4-BE49-F238E27FC236}">
                <a16:creationId xmlns:a16="http://schemas.microsoft.com/office/drawing/2014/main" id="{3B412F66-AEE1-8A67-7A46-56051DCE436E}"/>
              </a:ext>
            </a:extLst>
          </p:cNvPr>
          <p:cNvSpPr txBox="1"/>
          <p:nvPr/>
        </p:nvSpPr>
        <p:spPr>
          <a:xfrm>
            <a:off x="4876801" y="6492873"/>
            <a:ext cx="2902225" cy="307777"/>
          </a:xfrm>
          <a:prstGeom prst="rect">
            <a:avLst/>
          </a:prstGeom>
          <a:noFill/>
        </p:spPr>
        <p:txBody>
          <a:bodyPr wrap="square">
            <a:spAutoFit/>
          </a:bodyPr>
          <a:lstStyle/>
          <a:p>
            <a:r>
              <a:rPr lang="en-US" sz="1400" dirty="0">
                <a:solidFill>
                  <a:schemeClr val="bg1"/>
                </a:solidFill>
              </a:rPr>
              <a:t>Copyright © 2022 Kanban University</a:t>
            </a:r>
          </a:p>
        </p:txBody>
      </p:sp>
    </p:spTree>
    <p:extLst>
      <p:ext uri="{BB962C8B-B14F-4D97-AF65-F5344CB8AC3E}">
        <p14:creationId xmlns:p14="http://schemas.microsoft.com/office/powerpoint/2010/main" val="4527673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26009-0F0F-A530-E87D-C8E385F1FBB4}"/>
              </a:ext>
            </a:extLst>
          </p:cNvPr>
          <p:cNvSpPr>
            <a:spLocks noGrp="1"/>
          </p:cNvSpPr>
          <p:nvPr>
            <p:ph type="title"/>
          </p:nvPr>
        </p:nvSpPr>
        <p:spPr/>
        <p:txBody>
          <a:bodyPr/>
          <a:lstStyle/>
          <a:p>
            <a:r>
              <a:rPr lang="en-US" dirty="0"/>
              <a:t>Scrum Better with Kanban Course</a:t>
            </a:r>
          </a:p>
        </p:txBody>
      </p:sp>
      <p:pic>
        <p:nvPicPr>
          <p:cNvPr id="4" name="Picture 3" descr="A yellow and black brochure with text&#10;&#10;Description automatically generated">
            <a:extLst>
              <a:ext uri="{FF2B5EF4-FFF2-40B4-BE49-F238E27FC236}">
                <a16:creationId xmlns:a16="http://schemas.microsoft.com/office/drawing/2014/main" id="{92DD92BF-9CAF-A009-A61C-3BD608125217}"/>
              </a:ext>
            </a:extLst>
          </p:cNvPr>
          <p:cNvPicPr>
            <a:picLocks noChangeAspect="1"/>
          </p:cNvPicPr>
          <p:nvPr/>
        </p:nvPicPr>
        <p:blipFill>
          <a:blip r:embed="rId3"/>
          <a:stretch>
            <a:fillRect/>
          </a:stretch>
        </p:blipFill>
        <p:spPr>
          <a:xfrm rot="630272">
            <a:off x="8264699" y="2002641"/>
            <a:ext cx="2233764" cy="3175109"/>
          </a:xfrm>
          <a:prstGeom prst="rect">
            <a:avLst/>
          </a:prstGeom>
          <a:ln w="57150">
            <a:solidFill>
              <a:schemeClr val="bg1"/>
            </a:solidFill>
          </a:ln>
        </p:spPr>
      </p:pic>
      <p:pic>
        <p:nvPicPr>
          <p:cNvPr id="8194" name="Picture 2" descr="Kanban University Certified Training Seal">
            <a:extLst>
              <a:ext uri="{FF2B5EF4-FFF2-40B4-BE49-F238E27FC236}">
                <a16:creationId xmlns:a16="http://schemas.microsoft.com/office/drawing/2014/main" id="{03CD3E94-F7BA-6D3F-15C1-F1491CC17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4466" y="3411021"/>
            <a:ext cx="3878639" cy="3755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qr code on a white background&#10;&#10;Description automatically generated">
            <a:extLst>
              <a:ext uri="{FF2B5EF4-FFF2-40B4-BE49-F238E27FC236}">
                <a16:creationId xmlns:a16="http://schemas.microsoft.com/office/drawing/2014/main" id="{16004AC5-BFC8-AD43-61ED-6D0C90349F5B}"/>
              </a:ext>
            </a:extLst>
          </p:cNvPr>
          <p:cNvPicPr>
            <a:picLocks noChangeAspect="1"/>
          </p:cNvPicPr>
          <p:nvPr/>
        </p:nvPicPr>
        <p:blipFill>
          <a:blip r:embed="rId5"/>
          <a:stretch>
            <a:fillRect/>
          </a:stretch>
        </p:blipFill>
        <p:spPr>
          <a:xfrm>
            <a:off x="1016315" y="1690690"/>
            <a:ext cx="4643034" cy="4643034"/>
          </a:xfrm>
          <a:prstGeom prst="rect">
            <a:avLst/>
          </a:prstGeom>
        </p:spPr>
      </p:pic>
      <p:sp>
        <p:nvSpPr>
          <p:cNvPr id="3" name="TextBox 2">
            <a:extLst>
              <a:ext uri="{FF2B5EF4-FFF2-40B4-BE49-F238E27FC236}">
                <a16:creationId xmlns:a16="http://schemas.microsoft.com/office/drawing/2014/main" id="{E2C07642-918D-E130-D2AE-92081B9C122A}"/>
              </a:ext>
            </a:extLst>
          </p:cNvPr>
          <p:cNvSpPr txBox="1"/>
          <p:nvPr/>
        </p:nvSpPr>
        <p:spPr>
          <a:xfrm>
            <a:off x="4876801" y="6492873"/>
            <a:ext cx="2902225" cy="307777"/>
          </a:xfrm>
          <a:prstGeom prst="rect">
            <a:avLst/>
          </a:prstGeom>
          <a:noFill/>
        </p:spPr>
        <p:txBody>
          <a:bodyPr wrap="square">
            <a:spAutoFit/>
          </a:bodyPr>
          <a:lstStyle/>
          <a:p>
            <a:r>
              <a:rPr lang="en-US" sz="1400" dirty="0">
                <a:solidFill>
                  <a:schemeClr val="bg1"/>
                </a:solidFill>
              </a:rPr>
              <a:t>Copyright © 2022 Kanban University</a:t>
            </a:r>
          </a:p>
        </p:txBody>
      </p:sp>
    </p:spTree>
    <p:extLst>
      <p:ext uri="{BB962C8B-B14F-4D97-AF65-F5344CB8AC3E}">
        <p14:creationId xmlns:p14="http://schemas.microsoft.com/office/powerpoint/2010/main" val="10316927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p:txBody>
          <a:bodyPr/>
          <a:lstStyle/>
          <a:p>
            <a:pPr algn="r"/>
            <a:r>
              <a:rPr lang="en-US" dirty="0"/>
              <a:t>Is Agile Dead Yet?</a:t>
            </a:r>
            <a:br>
              <a:rPr lang="en-US" dirty="0"/>
            </a:br>
            <a:r>
              <a:rPr lang="en-US" dirty="0"/>
              <a:t>Evolutionary Change</a:t>
            </a:r>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5751818" y="4638104"/>
            <a:ext cx="5601984" cy="1511300"/>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r>
              <a:rPr lang="en-US" b="1" dirty="0">
                <a:solidFill>
                  <a:schemeClr val="bg1"/>
                </a:solidFill>
              </a:rPr>
              <a:t>Todd Little</a:t>
            </a:r>
          </a:p>
          <a:p>
            <a:r>
              <a:rPr lang="en-US" sz="2000" dirty="0">
                <a:solidFill>
                  <a:schemeClr val="bg1"/>
                </a:solidFill>
              </a:rPr>
              <a:t>Chairman</a:t>
            </a:r>
          </a:p>
          <a:p>
            <a:r>
              <a:rPr lang="en-US" sz="2000" dirty="0">
                <a:solidFill>
                  <a:schemeClr val="bg1"/>
                </a:solidFill>
              </a:rPr>
              <a:t>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A2EDA9D0-DC0C-8233-2AEA-2E46B7AE9CF9}"/>
                  </a:ext>
                </a:extLst>
              </p14:cNvPr>
              <p14:cNvContentPartPr/>
              <p14:nvPr/>
            </p14:nvContentPartPr>
            <p14:xfrm flipH="1">
              <a:off x="6472869" y="1474623"/>
              <a:ext cx="103907" cy="45719"/>
            </p14:xfrm>
          </p:contentPart>
        </mc:Choice>
        <mc:Fallback xmlns="">
          <p:pic>
            <p:nvPicPr>
              <p:cNvPr id="2" name="Ink 1">
                <a:extLst>
                  <a:ext uri="{FF2B5EF4-FFF2-40B4-BE49-F238E27FC236}">
                    <a16:creationId xmlns:a16="http://schemas.microsoft.com/office/drawing/2014/main" id="{A2EDA9D0-DC0C-8233-2AEA-2E46B7AE9CF9}"/>
                  </a:ext>
                </a:extLst>
              </p:cNvPr>
              <p:cNvPicPr/>
              <p:nvPr/>
            </p:nvPicPr>
            <p:blipFill>
              <a:blip r:embed="rId5"/>
              <a:stretch>
                <a:fillRect/>
              </a:stretch>
            </p:blipFill>
            <p:spPr>
              <a:xfrm flipH="1">
                <a:off x="6464210" y="1465915"/>
                <a:ext cx="121586" cy="6349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CC4E99D0-D1DE-5640-3008-71EF0F664EC7}"/>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C4E99D0-D1DE-5640-3008-71EF0F664EC7}"/>
                  </a:ext>
                </a:extLst>
              </p:cNvPr>
              <p:cNvPicPr/>
              <p:nvPr/>
            </p:nvPicPr>
            <p:blipFill>
              <a:blip r:embed="rId7"/>
              <a:stretch>
                <a:fillRect/>
              </a:stretch>
            </p:blipFill>
            <p:spPr>
              <a:xfrm>
                <a:off x="8548136" y="20409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83A63EC9-22F0-80A8-D381-47DD71055BDC}"/>
                  </a:ext>
                </a:extLst>
              </p14:cNvPr>
              <p14:cNvContentPartPr/>
              <p14:nvPr/>
            </p14:nvContentPartPr>
            <p14:xfrm>
              <a:off x="6705656" y="1594504"/>
              <a:ext cx="3960" cy="28800"/>
            </p14:xfrm>
          </p:contentPart>
        </mc:Choice>
        <mc:Fallback xmlns="">
          <p:pic>
            <p:nvPicPr>
              <p:cNvPr id="6" name="Ink 5">
                <a:extLst>
                  <a:ext uri="{FF2B5EF4-FFF2-40B4-BE49-F238E27FC236}">
                    <a16:creationId xmlns:a16="http://schemas.microsoft.com/office/drawing/2014/main" id="{83A63EC9-22F0-80A8-D381-47DD71055BDC}"/>
                  </a:ext>
                </a:extLst>
              </p:cNvPr>
              <p:cNvPicPr/>
              <p:nvPr/>
            </p:nvPicPr>
            <p:blipFill>
              <a:blip r:embed="rId9"/>
              <a:stretch>
                <a:fillRect/>
              </a:stretch>
            </p:blipFill>
            <p:spPr>
              <a:xfrm>
                <a:off x="6697016" y="1585504"/>
                <a:ext cx="21600" cy="46440"/>
              </a:xfrm>
              <a:prstGeom prst="rect">
                <a:avLst/>
              </a:prstGeom>
            </p:spPr>
          </p:pic>
        </mc:Fallback>
      </mc:AlternateContent>
      <p:pic>
        <p:nvPicPr>
          <p:cNvPr id="10" name="Content Placeholder 6" descr="A picture containing text&#10;&#10;Description automatically generated">
            <a:extLst>
              <a:ext uri="{FF2B5EF4-FFF2-40B4-BE49-F238E27FC236}">
                <a16:creationId xmlns:a16="http://schemas.microsoft.com/office/drawing/2014/main" id="{FC925C2E-C60D-6EAF-9076-6EBE4C543C71}"/>
              </a:ext>
            </a:extLst>
          </p:cNvPr>
          <p:cNvPicPr>
            <a:picLocks noChangeAspect="1"/>
          </p:cNvPicPr>
          <p:nvPr/>
        </p:nvPicPr>
        <p:blipFill rotWithShape="1">
          <a:blip r:embed="rId10"/>
          <a:srcRect t="15094"/>
          <a:stretch/>
        </p:blipFill>
        <p:spPr>
          <a:xfrm>
            <a:off x="3827495" y="1765943"/>
            <a:ext cx="5645958" cy="3175852"/>
          </a:xfrm>
          <a:prstGeom prst="rect">
            <a:avLst/>
          </a:prstGeom>
        </p:spPr>
      </p:pic>
    </p:spTree>
    <p:extLst>
      <p:ext uri="{BB962C8B-B14F-4D97-AF65-F5344CB8AC3E}">
        <p14:creationId xmlns:p14="http://schemas.microsoft.com/office/powerpoint/2010/main" val="2187570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A3EC80E-271C-2458-23A1-A29EB60E1620}"/>
              </a:ext>
            </a:extLst>
          </p:cNvPr>
          <p:cNvSpPr>
            <a:spLocks noGrp="1"/>
          </p:cNvSpPr>
          <p:nvPr>
            <p:ph type="sldNum" sz="quarter" idx="12"/>
          </p:nvPr>
        </p:nvSpPr>
        <p:spPr/>
        <p:txBody>
          <a:bodyPr/>
          <a:lstStyle/>
          <a:p>
            <a:fld id="{C35D1307-4518-DC49-A96C-7B35E51C61C4}" type="slidenum">
              <a:rPr lang="en-US" noProof="0" smtClean="0"/>
              <a:pPr/>
              <a:t>5</a:t>
            </a:fld>
            <a:endParaRPr lang="en-US" noProof="0"/>
          </a:p>
        </p:txBody>
      </p:sp>
      <p:pic>
        <p:nvPicPr>
          <p:cNvPr id="5" name="Picture 2">
            <a:extLst>
              <a:ext uri="{FF2B5EF4-FFF2-40B4-BE49-F238E27FC236}">
                <a16:creationId xmlns:a16="http://schemas.microsoft.com/office/drawing/2014/main" id="{2F14F9AC-3F1D-E844-2864-EDD310DD1B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643" y="630801"/>
            <a:ext cx="3436620" cy="123503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9C6E4AB6-0FF3-FA98-033E-2381213DBA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0935" y="1088523"/>
            <a:ext cx="3714307" cy="74866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49470CB1-3CB0-1D4D-6C6E-E75E689E9E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5689" y="3549015"/>
            <a:ext cx="1824662" cy="24231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B96945D4-98E4-0095-F811-79DB129991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5304" y="3820814"/>
            <a:ext cx="1721392" cy="240039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A3DC2790-364D-E8FD-B645-A73C31A43F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1657" y="3848886"/>
            <a:ext cx="2124654" cy="237232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A6CC3A4D-8438-FA7D-B895-C66AE24790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90935" y="2345710"/>
            <a:ext cx="3908385" cy="90177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a:extLst>
              <a:ext uri="{FF2B5EF4-FFF2-40B4-BE49-F238E27FC236}">
                <a16:creationId xmlns:a16="http://schemas.microsoft.com/office/drawing/2014/main" id="{A46FACD5-0F14-E27E-D376-D1541A0A35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8610" y="2513919"/>
            <a:ext cx="4331970" cy="83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2701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A19937-7EBC-3D27-FC72-A520D6D0EB25}"/>
              </a:ext>
            </a:extLst>
          </p:cNvPr>
          <p:cNvSpPr>
            <a:spLocks noGrp="1"/>
          </p:cNvSpPr>
          <p:nvPr>
            <p:ph type="title"/>
          </p:nvPr>
        </p:nvSpPr>
        <p:spPr/>
        <p:txBody>
          <a:bodyPr/>
          <a:lstStyle/>
          <a:p>
            <a:pPr algn="ctr"/>
            <a:r>
              <a:rPr lang="en-US" dirty="0"/>
              <a:t>Agile is Dead!</a:t>
            </a:r>
          </a:p>
        </p:txBody>
      </p:sp>
      <p:sp>
        <p:nvSpPr>
          <p:cNvPr id="2" name="Slide Number Placeholder 1">
            <a:extLst>
              <a:ext uri="{FF2B5EF4-FFF2-40B4-BE49-F238E27FC236}">
                <a16:creationId xmlns:a16="http://schemas.microsoft.com/office/drawing/2014/main" id="{97ABDE89-2BFA-F70D-44BB-0FC0B9B46F01}"/>
              </a:ext>
            </a:extLst>
          </p:cNvPr>
          <p:cNvSpPr>
            <a:spLocks noGrp="1"/>
          </p:cNvSpPr>
          <p:nvPr>
            <p:ph type="sldNum" sz="quarter" idx="12"/>
          </p:nvPr>
        </p:nvSpPr>
        <p:spPr/>
        <p:txBody>
          <a:bodyPr/>
          <a:lstStyle/>
          <a:p>
            <a:fld id="{2392DDAE-9823-6946-874E-259A5CB9452D}" type="slidenum">
              <a:rPr lang="en-US" smtClean="0"/>
              <a:t>6</a:t>
            </a:fld>
            <a:endParaRPr lang="en-US"/>
          </a:p>
        </p:txBody>
      </p:sp>
      <p:pic>
        <p:nvPicPr>
          <p:cNvPr id="9" name="Picture 2">
            <a:extLst>
              <a:ext uri="{FF2B5EF4-FFF2-40B4-BE49-F238E27FC236}">
                <a16:creationId xmlns:a16="http://schemas.microsoft.com/office/drawing/2014/main" id="{D61F71DF-DFF1-ADD0-8F51-5E5E806464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370" y="1252428"/>
            <a:ext cx="3436620" cy="12350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A07DC95F-9F11-9256-074D-FA7A586217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6696" y="1408406"/>
            <a:ext cx="3714307" cy="74866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4C3C6D41-7C7A-ACD1-68E3-D4295189E4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5689" y="3549015"/>
            <a:ext cx="1824662" cy="24231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a:extLst>
              <a:ext uri="{FF2B5EF4-FFF2-40B4-BE49-F238E27FC236}">
                <a16:creationId xmlns:a16="http://schemas.microsoft.com/office/drawing/2014/main" id="{9B59EF4A-F048-BB48-85F9-747215F3F6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35304" y="3820814"/>
            <a:ext cx="1721392" cy="240039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C0E4794A-4CDD-3EA7-3EB9-8746D05760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1657" y="3848886"/>
            <a:ext cx="2124654" cy="237232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554F1593-AB89-9B6B-D346-C609A2D1AC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9656" y="2376756"/>
            <a:ext cx="3908385" cy="9017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a:extLst>
              <a:ext uri="{FF2B5EF4-FFF2-40B4-BE49-F238E27FC236}">
                <a16:creationId xmlns:a16="http://schemas.microsoft.com/office/drawing/2014/main" id="{DB2FB6AF-754A-6F03-5300-1C4F21E676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8610" y="2513919"/>
            <a:ext cx="4331970" cy="8325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Mice on a shelf">
            <a:extLst>
              <a:ext uri="{FF2B5EF4-FFF2-40B4-BE49-F238E27FC236}">
                <a16:creationId xmlns:a16="http://schemas.microsoft.com/office/drawing/2014/main" id="{FD9F25FA-5193-50E0-FEBF-17DA002D0B7C}"/>
              </a:ext>
            </a:extLst>
          </p:cNvPr>
          <p:cNvPicPr>
            <a:picLocks noChangeAspect="1"/>
          </p:cNvPicPr>
          <p:nvPr/>
        </p:nvPicPr>
        <p:blipFill>
          <a:blip r:embed="rId9"/>
          <a:stretch>
            <a:fillRect/>
          </a:stretch>
        </p:blipFill>
        <p:spPr>
          <a:xfrm>
            <a:off x="2023433" y="1328503"/>
            <a:ext cx="7635482" cy="4938490"/>
          </a:xfrm>
          <a:prstGeom prst="rect">
            <a:avLst/>
          </a:prstGeom>
        </p:spPr>
      </p:pic>
    </p:spTree>
    <p:extLst>
      <p:ext uri="{BB962C8B-B14F-4D97-AF65-F5344CB8AC3E}">
        <p14:creationId xmlns:p14="http://schemas.microsoft.com/office/powerpoint/2010/main" val="301899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5CB12C44" descr="A black background with a black square&#10;&#10;Description automatically generated with medium confidence">
            <a:hlinkClick r:id="" action="ppaction://media"/>
            <a:extLst>
              <a:ext uri="{FF2B5EF4-FFF2-40B4-BE49-F238E27FC236}">
                <a16:creationId xmlns:a16="http://schemas.microsoft.com/office/drawing/2014/main" id="{A664EFFF-254C-C2B0-CFBB-3788F942F831}"/>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143941" y="643467"/>
            <a:ext cx="9904117" cy="5571066"/>
          </a:xfrm>
          <a:prstGeom prst="rect">
            <a:avLst/>
          </a:prstGeom>
        </p:spPr>
      </p:pic>
      <p:sp>
        <p:nvSpPr>
          <p:cNvPr id="4" name="Slide Number Placeholder 3">
            <a:extLst>
              <a:ext uri="{FF2B5EF4-FFF2-40B4-BE49-F238E27FC236}">
                <a16:creationId xmlns:a16="http://schemas.microsoft.com/office/drawing/2014/main" id="{911B2F20-72AF-EEAC-39BF-8D29F5FAF4A6}"/>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2392DDAE-9823-6946-874E-259A5CB9452D}" type="slidenum">
              <a:rPr lang="en-US">
                <a:solidFill>
                  <a:srgbClr val="FFFFFF"/>
                </a:solidFill>
              </a:rPr>
              <a:pPr>
                <a:spcAft>
                  <a:spcPts val="600"/>
                </a:spcAft>
              </a:pPr>
              <a:t>7</a:t>
            </a:fld>
            <a:endParaRPr lang="en-US">
              <a:solidFill>
                <a:srgbClr val="FFFFFF"/>
              </a:solidFill>
            </a:endParaRPr>
          </a:p>
        </p:txBody>
      </p:sp>
    </p:spTree>
    <p:extLst>
      <p:ext uri="{BB962C8B-B14F-4D97-AF65-F5344CB8AC3E}">
        <p14:creationId xmlns:p14="http://schemas.microsoft.com/office/powerpoint/2010/main" val="38678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692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4E8EA3-90B4-6B54-6182-ABD9E7B99EC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D9027E-0CE2-B905-4E87-BD4B7C26E510}"/>
              </a:ext>
            </a:extLst>
          </p:cNvPr>
          <p:cNvSpPr>
            <a:spLocks noGrp="1"/>
          </p:cNvSpPr>
          <p:nvPr>
            <p:ph type="body" sz="quarter" idx="13"/>
          </p:nvPr>
        </p:nvSpPr>
        <p:spPr/>
        <p:txBody>
          <a:bodyPr>
            <a:normAutofit fontScale="40000" lnSpcReduction="20000"/>
          </a:bodyPr>
          <a:lstStyle/>
          <a:p>
            <a:pPr marL="685800" indent="-685800">
              <a:buFont typeface="Arial" panose="020B0604020202020204" pitchFamily="34" charset="0"/>
              <a:buChar char="•"/>
            </a:pPr>
            <a:r>
              <a:rPr lang="en-US" dirty="0"/>
              <a:t>the layoffs were a difficult but necessary decision to make Discord </a:t>
            </a:r>
            <a:r>
              <a:rPr lang="en-US" b="1" dirty="0"/>
              <a:t>more agile </a:t>
            </a:r>
            <a:r>
              <a:rPr lang="en-US" dirty="0"/>
              <a:t>and effective.</a:t>
            </a:r>
          </a:p>
          <a:p>
            <a:pPr marL="685800" indent="-685800">
              <a:buFont typeface="Arial" panose="020B0604020202020204" pitchFamily="34" charset="0"/>
              <a:buChar char="•"/>
            </a:pPr>
            <a:r>
              <a:rPr lang="en-US" dirty="0"/>
              <a:t>"This was a difficult decision that was carefully considered as part of our overall strategy and ongoing focus on becoming an ever </a:t>
            </a:r>
            <a:r>
              <a:rPr lang="en-US" b="1" dirty="0"/>
              <a:t>more agile </a:t>
            </a:r>
            <a:r>
              <a:rPr lang="en-US" dirty="0"/>
              <a:t>and disciplined company, said Chewy spokesperson, Diane Pelkey </a:t>
            </a:r>
          </a:p>
          <a:p>
            <a:pPr marL="685800" indent="-685800">
              <a:buFont typeface="Arial" panose="020B0604020202020204" pitchFamily="34" charset="0"/>
              <a:buChar char="•"/>
            </a:pPr>
            <a:r>
              <a:rPr lang="en-US" dirty="0"/>
              <a:t>Salsify is moving some roles abroad as the company aims to set itself up for a </a:t>
            </a:r>
            <a:r>
              <a:rPr lang="en-US" b="1" dirty="0"/>
              <a:t>more agile </a:t>
            </a:r>
            <a:r>
              <a:rPr lang="en-US" dirty="0"/>
              <a:t>and competitive future.</a:t>
            </a:r>
          </a:p>
        </p:txBody>
      </p:sp>
      <p:sp>
        <p:nvSpPr>
          <p:cNvPr id="3" name="Text Placeholder 2">
            <a:extLst>
              <a:ext uri="{FF2B5EF4-FFF2-40B4-BE49-F238E27FC236}">
                <a16:creationId xmlns:a16="http://schemas.microsoft.com/office/drawing/2014/main" id="{70AC7016-2058-1414-751A-596FFD8F5DDC}"/>
              </a:ext>
            </a:extLst>
          </p:cNvPr>
          <p:cNvSpPr>
            <a:spLocks noGrp="1"/>
          </p:cNvSpPr>
          <p:nvPr>
            <p:ph type="body" sz="quarter" idx="14"/>
          </p:nvPr>
        </p:nvSpPr>
        <p:spPr/>
        <p:txBody>
          <a:bodyPr/>
          <a:lstStyle/>
          <a:p>
            <a:endParaRPr lang="en-US"/>
          </a:p>
        </p:txBody>
      </p:sp>
      <p:sp>
        <p:nvSpPr>
          <p:cNvPr id="4" name="Slide Number Placeholder 3">
            <a:extLst>
              <a:ext uri="{FF2B5EF4-FFF2-40B4-BE49-F238E27FC236}">
                <a16:creationId xmlns:a16="http://schemas.microsoft.com/office/drawing/2014/main" id="{231ED510-BD71-D03C-C816-5DC52E39142C}"/>
              </a:ext>
            </a:extLst>
          </p:cNvPr>
          <p:cNvSpPr>
            <a:spLocks noGrp="1"/>
          </p:cNvSpPr>
          <p:nvPr>
            <p:ph type="sldNum" sz="quarter" idx="16"/>
          </p:nvPr>
        </p:nvSpPr>
        <p:spPr/>
        <p:txBody>
          <a:bodyPr/>
          <a:lstStyle/>
          <a:p>
            <a:fld id="{C35D1307-4518-DC49-A96C-7B35E51C61C4}" type="slidenum">
              <a:rPr lang="en-US" noProof="0" smtClean="0"/>
              <a:pPr/>
              <a:t>8</a:t>
            </a:fld>
            <a:endParaRPr lang="en-US" noProof="0"/>
          </a:p>
        </p:txBody>
      </p:sp>
    </p:spTree>
    <p:extLst>
      <p:ext uri="{BB962C8B-B14F-4D97-AF65-F5344CB8AC3E}">
        <p14:creationId xmlns:p14="http://schemas.microsoft.com/office/powerpoint/2010/main" val="3123545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1A3221-9736-1D05-237A-BE0A34612833}"/>
              </a:ext>
            </a:extLst>
          </p:cNvPr>
          <p:cNvSpPr>
            <a:spLocks noGrp="1"/>
          </p:cNvSpPr>
          <p:nvPr>
            <p:ph type="body" sz="quarter" idx="13"/>
          </p:nvPr>
        </p:nvSpPr>
        <p:spPr/>
        <p:txBody>
          <a:bodyPr>
            <a:normAutofit fontScale="47500" lnSpcReduction="20000"/>
          </a:bodyPr>
          <a:lstStyle/>
          <a:p>
            <a:r>
              <a:rPr lang="en-US" dirty="0"/>
              <a:t>Meta did not reveal officially the reasons behind the elimination of the TPM role, but according to one of the former Instagram employees, the layoffs are related to Meta’s ongoing restructuring, known as “the flattening.” This restructuring, which started last year, is aimed to remove unnecessary layers of management and make the company </a:t>
            </a:r>
            <a:r>
              <a:rPr lang="en-US" b="1" dirty="0"/>
              <a:t>more agile </a:t>
            </a:r>
            <a:r>
              <a:rPr lang="en-US" dirty="0"/>
              <a:t>and efficient. </a:t>
            </a:r>
          </a:p>
        </p:txBody>
      </p:sp>
      <p:sp>
        <p:nvSpPr>
          <p:cNvPr id="3" name="Text Placeholder 2">
            <a:extLst>
              <a:ext uri="{FF2B5EF4-FFF2-40B4-BE49-F238E27FC236}">
                <a16:creationId xmlns:a16="http://schemas.microsoft.com/office/drawing/2014/main" id="{FE7D5588-0128-E946-DF92-116D3F85F0DD}"/>
              </a:ext>
            </a:extLst>
          </p:cNvPr>
          <p:cNvSpPr>
            <a:spLocks noGrp="1"/>
          </p:cNvSpPr>
          <p:nvPr>
            <p:ph type="body" sz="quarter" idx="14"/>
          </p:nvPr>
        </p:nvSpPr>
        <p:spPr/>
        <p:txBody>
          <a:bodyPr/>
          <a:lstStyle/>
          <a:p>
            <a:r>
              <a:rPr lang="en-US" dirty="0"/>
              <a:t>India Today 2024-01-18</a:t>
            </a:r>
          </a:p>
        </p:txBody>
      </p:sp>
      <p:sp>
        <p:nvSpPr>
          <p:cNvPr id="4" name="Slide Number Placeholder 3">
            <a:extLst>
              <a:ext uri="{FF2B5EF4-FFF2-40B4-BE49-F238E27FC236}">
                <a16:creationId xmlns:a16="http://schemas.microsoft.com/office/drawing/2014/main" id="{3117F2A1-D784-F392-17A1-CFEA20AD112D}"/>
              </a:ext>
            </a:extLst>
          </p:cNvPr>
          <p:cNvSpPr>
            <a:spLocks noGrp="1"/>
          </p:cNvSpPr>
          <p:nvPr>
            <p:ph type="sldNum" sz="quarter" idx="16"/>
          </p:nvPr>
        </p:nvSpPr>
        <p:spPr/>
        <p:txBody>
          <a:bodyPr/>
          <a:lstStyle/>
          <a:p>
            <a:fld id="{C35D1307-4518-DC49-A96C-7B35E51C61C4}" type="slidenum">
              <a:rPr lang="en-US" noProof="0" smtClean="0"/>
              <a:pPr/>
              <a:t>9</a:t>
            </a:fld>
            <a:endParaRPr lang="en-US" noProof="0"/>
          </a:p>
        </p:txBody>
      </p:sp>
    </p:spTree>
    <p:extLst>
      <p:ext uri="{BB962C8B-B14F-4D97-AF65-F5344CB8AC3E}">
        <p14:creationId xmlns:p14="http://schemas.microsoft.com/office/powerpoint/2010/main" val="1245483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wQAGwwAAAAAAAAAAAAAIAD///////////////8AAAD///////////////8DAAAAAgD///////8DAAAAAwD///////8DAAAAAwD///////8DAAAAAwD///////8DAAAAAwD///////////////////////////////////////////////////////////////////////////////////////////////////////////////////////////////////////////////////////////////////////////////////////////////////////////////////////////////////////////////////////////////////////////////////////////////////////////////////////////////////////////////////////////////////////////////////////////////////////////////////////////////////////////////8BACAA////////////////AAAO////////AwAAAAMA////////////////////////////////////////////////////////////////////////////////////////////////////////////////////////////////////////////////////////////////////////////////////////////////////////////////////////////////////////////////////////////////////////////////////////////////////////////////////////////////////////////////////////////////////////////////////////////////////////////////////////////////////////////////////////////////////////////////////////////////////////////////////////AgABAP///////wQAAAACABAAC207mouCRClKpCa7yUvM5HQFAAAAAAADAAAAAAADAAAAAwADAAUA////////BAAAAAMAEAALWoTew3qLdk6Wo+xHFa67CgUAAAABAAMAAAACAAMAAAABAAMAAAAAAP///////wMAAAAA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G07mouCRClKpCa7yUvM5HQDRGF0YQAbAAAABExpbmtlZFNoYXBlRGF0YQAFAAAAAAACTmFtZQAZAAAATGlua2VkU2hhcGVzRGF0YVByb3BlcnR5ABBWZXJzaW9uAAAAAAAJTGFzdFdyaXRlAHmjW4V8AQAAAAEA/////8YAxgAAAAVfaWQAEAAAAARahN7Deot2Tpaj7EcVrrsKA0RhdGEAUwAAAAhQcmVzZW50YXRpb25TY2FubmVkRm9yTGlua2VkU2hhcGVzAAECTnVtYmVyRm9ybWF0U2VwYXJhdG9yTW9kZQAKAAAAQXV0b21hdGljAAACTmFtZQAkAAAATGlua2VkU2hhcGVQcmVzZW50YXRpb25TZXR0aW5nc0RhdGEAEFZlcnNpb24AAAAAAAlMYXN0V3JpdGUA0KNbhX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0566CC40C6C04182DD0A86DE66549F" ma:contentTypeVersion="16" ma:contentTypeDescription="Create a new document." ma:contentTypeScope="" ma:versionID="06ba0bb4a6de7b38cb6652dca598419c">
  <xsd:schema xmlns:xsd="http://www.w3.org/2001/XMLSchema" xmlns:xs="http://www.w3.org/2001/XMLSchema" xmlns:p="http://schemas.microsoft.com/office/2006/metadata/properties" xmlns:ns2="4ccd3215-d870-4975-9d1b-ee8e7bca5afd" xmlns:ns3="c07a99cf-9629-4e24-b386-fe3ed5639f15" targetNamespace="http://schemas.microsoft.com/office/2006/metadata/properties" ma:root="true" ma:fieldsID="3d098604de8cd1505b831bf5a1d7fe67" ns2:_="" ns3:_="">
    <xsd:import namespace="4ccd3215-d870-4975-9d1b-ee8e7bca5afd"/>
    <xsd:import namespace="c07a99cf-9629-4e24-b386-fe3ed5639f1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cd3215-d870-4975-9d1b-ee8e7bca5a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af7867-5976-4f4d-8f6a-09edecddad0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07a99cf-9629-4e24-b386-fe3ed5639f1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8fccf8e-c208-49aa-8e6f-884c207ef7b0}" ma:internalName="TaxCatchAll" ma:showField="CatchAllData" ma:web="c07a99cf-9629-4e24-b386-fe3ed5639f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ccd3215-d870-4975-9d1b-ee8e7bca5afd">
      <Terms xmlns="http://schemas.microsoft.com/office/infopath/2007/PartnerControls"/>
    </lcf76f155ced4ddcb4097134ff3c332f>
    <TaxCatchAll xmlns="c07a99cf-9629-4e24-b386-fe3ed5639f15"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C1A1AD-3B5E-414C-8010-02A974600E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cd3215-d870-4975-9d1b-ee8e7bca5afd"/>
    <ds:schemaRef ds:uri="c07a99cf-9629-4e24-b386-fe3ed5639f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128D41-5B59-4F8C-8DD9-048DFE67C726}">
  <ds:schemaRefs>
    <ds:schemaRef ds:uri="http://schemas.microsoft.com/office/2006/metadata/properties"/>
    <ds:schemaRef ds:uri="c07a99cf-9629-4e24-b386-fe3ed5639f15"/>
    <ds:schemaRef ds:uri="http://www.w3.org/XML/1998/namespace"/>
    <ds:schemaRef ds:uri="http://schemas.microsoft.com/office/infopath/2007/PartnerControls"/>
    <ds:schemaRef ds:uri="http://purl.org/dc/elements/1.1/"/>
    <ds:schemaRef ds:uri="http://schemas.microsoft.com/office/2006/documentManagement/types"/>
    <ds:schemaRef ds:uri="http://purl.org/dc/dcmitype/"/>
    <ds:schemaRef ds:uri="http://schemas.openxmlformats.org/package/2006/metadata/core-properties"/>
    <ds:schemaRef ds:uri="4ccd3215-d870-4975-9d1b-ee8e7bca5afd"/>
    <ds:schemaRef ds:uri="http://purl.org/dc/terms/"/>
  </ds:schemaRefs>
</ds:datastoreItem>
</file>

<file path=customXml/itemProps3.xml><?xml version="1.0" encoding="utf-8"?>
<ds:datastoreItem xmlns:ds="http://schemas.openxmlformats.org/officeDocument/2006/customXml" ds:itemID="{D92F9AF7-1744-4CFC-ADA0-464DF6D7A56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816</TotalTime>
  <Words>1049</Words>
  <Application>Microsoft Office PowerPoint</Application>
  <PresentationFormat>Widescreen</PresentationFormat>
  <Paragraphs>143</Paragraphs>
  <Slides>44</Slides>
  <Notes>5</Notes>
  <HiddenSlides>2</HiddenSlides>
  <MMClips>1</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44</vt:i4>
      </vt:variant>
    </vt:vector>
  </HeadingPairs>
  <TitlesOfParts>
    <vt:vector size="54" baseType="lpstr">
      <vt:lpstr>-apple-system</vt:lpstr>
      <vt:lpstr>Arial</vt:lpstr>
      <vt:lpstr>Calibri</vt:lpstr>
      <vt:lpstr>Calibri Light</vt:lpstr>
      <vt:lpstr>Heavy</vt:lpstr>
      <vt:lpstr>PT Sans</vt:lpstr>
      <vt:lpstr>Regular</vt:lpstr>
      <vt:lpstr>Roboto</vt:lpstr>
      <vt:lpstr>Office Theme</vt:lpstr>
      <vt:lpstr>1_Office Theme</vt:lpstr>
      <vt:lpstr>Is Agile Dead Yet?</vt:lpstr>
      <vt:lpstr>PowerPoint Presentation</vt:lpstr>
      <vt:lpstr>PowerPoint Presentation</vt:lpstr>
      <vt:lpstr>PowerPoint Presentation</vt:lpstr>
      <vt:lpstr>PowerPoint Presentation</vt:lpstr>
      <vt:lpstr>Agile is Dead!</vt:lpstr>
      <vt:lpstr>PowerPoint Presentation</vt:lpstr>
      <vt:lpstr>PowerPoint Presentation</vt:lpstr>
      <vt:lpstr>PowerPoint Presentation</vt:lpstr>
      <vt:lpstr>PowerPoint Presentation</vt:lpstr>
      <vt:lpstr>Why is Agile Struggling?</vt:lpstr>
      <vt:lpstr>This is agile, right?</vt:lpstr>
      <vt:lpstr>PowerPoint Presentation</vt:lpstr>
      <vt:lpstr>PowerPoint Presentation</vt:lpstr>
      <vt:lpstr>PowerPoint Presentation</vt:lpstr>
      <vt:lpstr>How many Scrum Masters does it take to change a light bulb?</vt:lpstr>
      <vt:lpstr>How many Product Owners does it take to change a light bulb?</vt:lpstr>
      <vt:lpstr>When will the light bulb be changed?</vt:lpstr>
      <vt:lpstr>What did Agile Become?</vt:lpstr>
      <vt:lpstr>Agility?</vt:lpstr>
      <vt:lpstr>PowerPoint Presentation</vt:lpstr>
      <vt:lpstr>We just need an Agile Mindset</vt:lpstr>
      <vt:lpstr>Any Agile Coaches in the Audience?</vt:lpstr>
      <vt:lpstr>How many Agile Coaches does it take to change a light bulb?</vt:lpstr>
      <vt:lpstr>PowerPoint Presentation</vt:lpstr>
      <vt:lpstr>Is your Mindset a Bucket or a Filter?</vt:lpstr>
      <vt:lpstr>Declaration of Interdependence for Agile Leadership</vt:lpstr>
      <vt:lpstr>Lean Decision Filter</vt:lpstr>
      <vt:lpstr>Discovery has Value of Information</vt:lpstr>
      <vt:lpstr>Does Kanban go down with the Ship?</vt:lpstr>
      <vt:lpstr>PowerPoint Presentation</vt:lpstr>
      <vt:lpstr>Kanban is not a process delivery framework</vt:lpstr>
      <vt:lpstr>Start with what you do now</vt:lpstr>
      <vt:lpstr>Kanban can save your Agile boat!</vt:lpstr>
      <vt:lpstr>Start with what you do now</vt:lpstr>
      <vt:lpstr>PowerPoint Presentation</vt:lpstr>
      <vt:lpstr>State of Kanban 2022</vt:lpstr>
      <vt:lpstr>Kanban Maturity Model at Vanguard</vt:lpstr>
      <vt:lpstr>Kanban Maturity Model at Vanguard</vt:lpstr>
      <vt:lpstr>Kanban Impact at Accenture Brazil</vt:lpstr>
      <vt:lpstr>PowerPoint Presentation</vt:lpstr>
      <vt:lpstr>Official Guide To The Kanban Method</vt:lpstr>
      <vt:lpstr>Scrum Better with Kanban Course</vt:lpstr>
      <vt:lpstr>Is Agile Dead Yet? Evolutionary Chan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y Spooner</dc:creator>
  <cp:lastModifiedBy>Todd Little</cp:lastModifiedBy>
  <cp:revision>23</cp:revision>
  <cp:lastPrinted>2024-12-04T03:31:34Z</cp:lastPrinted>
  <dcterms:created xsi:type="dcterms:W3CDTF">2021-10-13T19:53:04Z</dcterms:created>
  <dcterms:modified xsi:type="dcterms:W3CDTF">2024-12-06T16:2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0566CC40C6C04182DD0A86DE66549F</vt:lpwstr>
  </property>
</Properties>
</file>